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webextensions/webextension1.xml" ContentType="application/vnd.ms-office.webextension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webextensions/webextension2.xml" ContentType="application/vnd.ms-office.webextension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drawings/drawing2.xml" ContentType="application/vnd.openxmlformats-officedocument.drawingml.chartshapes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charts/chart7.xml" ContentType="application/vnd.openxmlformats-officedocument.drawingml.chart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webextensions/webextension3.xml" ContentType="application/vnd.ms-office.webextension+xml"/>
  <Override PartName="/ppt/tags/tag72.xml" ContentType="application/vnd.openxmlformats-officedocument.presentationml.tags+xml"/>
  <Override PartName="/ppt/webextensions/webextension4.xml" ContentType="application/vnd.ms-office.webextension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webextensions/webextension5.xml" ContentType="application/vnd.ms-office.webextension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5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notesSlides/notesSlide6.xml" ContentType="application/vnd.openxmlformats-officedocument.presentationml.notesSl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7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webextensions/webextension6.xml" ContentType="application/vnd.ms-office.webextension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webextensions/webextension7.xml" ContentType="application/vnd.ms-office.webextension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webextensions/webextension8.xml" ContentType="application/vnd.ms-office.webextension+xml"/>
  <Override PartName="/ppt/tags/tag150.xml" ContentType="application/vnd.openxmlformats-officedocument.presentationml.tags+xml"/>
  <Override PartName="/ppt/webextensions/webextension9.xml" ContentType="application/vnd.ms-office.webextension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drawings/drawing3.xml" ContentType="application/vnd.openxmlformats-officedocument.drawingml.chartshape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3.xml" ContentType="application/vnd.openxmlformats-officedocument.themeOverride+xml"/>
  <Override PartName="/ppt/drawings/drawing4.xml" ContentType="application/vnd.openxmlformats-officedocument.drawingml.chartshape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4.xml" ContentType="application/vnd.openxmlformats-officedocument.themeOverride+xml"/>
  <Override PartName="/ppt/drawings/drawing5.xml" ContentType="application/vnd.openxmlformats-officedocument.drawingml.chartshape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6.xml" ContentType="application/vnd.openxmlformats-officedocument.drawingml.chartshape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5"/>
  </p:notesMasterIdLst>
  <p:sldIdLst>
    <p:sldId id="277" r:id="rId2"/>
    <p:sldId id="732" r:id="rId3"/>
    <p:sldId id="278" r:id="rId4"/>
    <p:sldId id="367" r:id="rId5"/>
    <p:sldId id="368" r:id="rId6"/>
    <p:sldId id="721" r:id="rId7"/>
    <p:sldId id="724" r:id="rId8"/>
    <p:sldId id="719" r:id="rId9"/>
    <p:sldId id="720" r:id="rId10"/>
    <p:sldId id="718" r:id="rId11"/>
    <p:sldId id="723" r:id="rId12"/>
    <p:sldId id="680" r:id="rId13"/>
    <p:sldId id="666" r:id="rId14"/>
    <p:sldId id="689" r:id="rId15"/>
    <p:sldId id="667" r:id="rId16"/>
    <p:sldId id="685" r:id="rId17"/>
    <p:sldId id="602" r:id="rId18"/>
    <p:sldId id="486" r:id="rId19"/>
    <p:sldId id="687" r:id="rId20"/>
    <p:sldId id="688" r:id="rId21"/>
    <p:sldId id="690" r:id="rId22"/>
    <p:sldId id="691" r:id="rId23"/>
    <p:sldId id="693" r:id="rId24"/>
    <p:sldId id="712" r:id="rId25"/>
    <p:sldId id="485" r:id="rId26"/>
    <p:sldId id="684" r:id="rId27"/>
    <p:sldId id="733" r:id="rId28"/>
    <p:sldId id="711" r:id="rId29"/>
    <p:sldId id="710" r:id="rId30"/>
    <p:sldId id="694" r:id="rId31"/>
    <p:sldId id="725" r:id="rId32"/>
    <p:sldId id="696" r:id="rId33"/>
    <p:sldId id="698" r:id="rId34"/>
    <p:sldId id="697" r:id="rId35"/>
    <p:sldId id="695" r:id="rId36"/>
    <p:sldId id="699" r:id="rId37"/>
    <p:sldId id="700" r:id="rId38"/>
    <p:sldId id="708" r:id="rId39"/>
    <p:sldId id="709" r:id="rId40"/>
    <p:sldId id="701" r:id="rId41"/>
    <p:sldId id="702" r:id="rId42"/>
    <p:sldId id="703" r:id="rId43"/>
    <p:sldId id="704" r:id="rId44"/>
    <p:sldId id="707" r:id="rId45"/>
    <p:sldId id="706" r:id="rId46"/>
    <p:sldId id="726" r:id="rId47"/>
    <p:sldId id="731" r:id="rId48"/>
    <p:sldId id="734" r:id="rId49"/>
    <p:sldId id="713" r:id="rId50"/>
    <p:sldId id="714" r:id="rId51"/>
    <p:sldId id="716" r:id="rId52"/>
    <p:sldId id="717" r:id="rId53"/>
    <p:sldId id="715" r:id="rId54"/>
    <p:sldId id="727" r:id="rId55"/>
    <p:sldId id="728" r:id="rId56"/>
    <p:sldId id="729" r:id="rId57"/>
    <p:sldId id="736" r:id="rId58"/>
    <p:sldId id="735" r:id="rId59"/>
    <p:sldId id="484" r:id="rId60"/>
    <p:sldId id="487" r:id="rId61"/>
    <p:sldId id="488" r:id="rId62"/>
    <p:sldId id="489" r:id="rId63"/>
    <p:sldId id="490" r:id="rId64"/>
  </p:sldIdLst>
  <p:sldSz cx="12192000" cy="6858000"/>
  <p:notesSz cx="6858000" cy="9144000"/>
  <p:custDataLst>
    <p:tags r:id="rId6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20807DC-6E58-4213-918E-3232BBADA09D}">
          <p14:sldIdLst>
            <p14:sldId id="277"/>
            <p14:sldId id="732"/>
            <p14:sldId id="278"/>
            <p14:sldId id="367"/>
            <p14:sldId id="368"/>
            <p14:sldId id="721"/>
          </p14:sldIdLst>
        </p14:section>
        <p14:section name="ГАЙДЫ" id="{6B134A24-4974-4551-A864-515FBB4798A8}">
          <p14:sldIdLst>
            <p14:sldId id="724"/>
            <p14:sldId id="719"/>
            <p14:sldId id="720"/>
            <p14:sldId id="718"/>
          </p14:sldIdLst>
        </p14:section>
        <p14:section name="DECLARE" id="{9407A08A-E548-4447-984B-3F71153515D3}">
          <p14:sldIdLst>
            <p14:sldId id="723"/>
            <p14:sldId id="680"/>
            <p14:sldId id="666"/>
            <p14:sldId id="689"/>
            <p14:sldId id="667"/>
            <p14:sldId id="685"/>
            <p14:sldId id="602"/>
            <p14:sldId id="486"/>
            <p14:sldId id="687"/>
            <p14:sldId id="688"/>
            <p14:sldId id="690"/>
            <p14:sldId id="691"/>
            <p14:sldId id="693"/>
            <p14:sldId id="712"/>
            <p14:sldId id="485"/>
            <p14:sldId id="684"/>
            <p14:sldId id="733"/>
            <p14:sldId id="711"/>
          </p14:sldIdLst>
        </p14:section>
        <p14:section name="REDUCE IT" id="{1333C3DC-687B-47C6-9847-6F3E990A707D}">
          <p14:sldIdLst>
            <p14:sldId id="710"/>
            <p14:sldId id="694"/>
            <p14:sldId id="725"/>
            <p14:sldId id="696"/>
            <p14:sldId id="698"/>
            <p14:sldId id="697"/>
            <p14:sldId id="695"/>
            <p14:sldId id="699"/>
            <p14:sldId id="700"/>
            <p14:sldId id="708"/>
            <p14:sldId id="709"/>
            <p14:sldId id="701"/>
            <p14:sldId id="702"/>
            <p14:sldId id="703"/>
            <p14:sldId id="704"/>
            <p14:sldId id="707"/>
            <p14:sldId id="706"/>
            <p14:sldId id="726"/>
            <p14:sldId id="731"/>
            <p14:sldId id="734"/>
          </p14:sldIdLst>
        </p14:section>
        <p14:section name="VITAL" id="{FEDF6B51-8BFA-4D05-8638-A87F53CE3015}">
          <p14:sldIdLst>
            <p14:sldId id="713"/>
            <p14:sldId id="714"/>
            <p14:sldId id="716"/>
            <p14:sldId id="717"/>
            <p14:sldId id="715"/>
            <p14:sldId id="727"/>
            <p14:sldId id="728"/>
            <p14:sldId id="729"/>
            <p14:sldId id="736"/>
            <p14:sldId id="735"/>
          </p14:sldIdLst>
        </p14:section>
        <p14:section name="Backup" id="{727051B1-D6AA-4504-B54C-F4C98DC793C1}">
          <p14:sldIdLst>
            <p14:sldId id="484"/>
            <p14:sldId id="487"/>
            <p14:sldId id="488"/>
            <p14:sldId id="489"/>
            <p14:sldId id="4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21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3F3F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7711C24-CE86-4310-83AB-2BFC8187209E}" v="8251" dt="2018-11-16T08:44:47.0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827" autoAdjust="0"/>
    <p:restoredTop sz="78802" autoAdjust="0"/>
  </p:normalViewPr>
  <p:slideViewPr>
    <p:cSldViewPr showGuides="1">
      <p:cViewPr varScale="1">
        <p:scale>
          <a:sx n="82" d="100"/>
          <a:sy n="82" d="100"/>
        </p:scale>
        <p:origin x="114" y="174"/>
      </p:cViewPr>
      <p:guideLst>
        <p:guide orient="horz" pos="2217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9482"/>
    </p:cViewPr>
  </p:sorterViewPr>
  <p:gridSpacing cx="45000" cy="45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viewProps" Target="viewProps.xml"/><Relationship Id="rId7" Type="http://schemas.openxmlformats.org/officeDocument/2006/relationships/slide" Target="slides/slide6.xml"/><Relationship Id="rId71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microsoft.com/office/2015/10/relationships/revisionInfo" Target="revisionInfo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Yakov Pakhomov" userId="857a8f7002735771" providerId="LiveId" clId="{77711C24-CE86-4310-83AB-2BFC8187209E}"/>
    <pc:docChg chg="undo redo custSel addSld delSld modSld sldOrd modMainMaster modSection">
      <pc:chgData name="Yakov Pakhomov" userId="857a8f7002735771" providerId="LiveId" clId="{77711C24-CE86-4310-83AB-2BFC8187209E}" dt="2018-11-16T08:44:47.019" v="28912"/>
      <pc:docMkLst>
        <pc:docMk/>
      </pc:docMkLst>
      <pc:sldChg chg="modSp">
        <pc:chgData name="Yakov Pakhomov" userId="857a8f7002735771" providerId="LiveId" clId="{77711C24-CE86-4310-83AB-2BFC8187209E}" dt="2018-11-15T13:35:25.645" v="26900" actId="27636"/>
        <pc:sldMkLst>
          <pc:docMk/>
          <pc:sldMk cId="3676174711" sldId="277"/>
        </pc:sldMkLst>
        <pc:spChg chg="mod">
          <ac:chgData name="Yakov Pakhomov" userId="857a8f7002735771" providerId="LiveId" clId="{77711C24-CE86-4310-83AB-2BFC8187209E}" dt="2018-11-15T13:35:15.166" v="26890" actId="14100"/>
          <ac:spMkLst>
            <pc:docMk/>
            <pc:sldMk cId="3676174711" sldId="277"/>
            <ac:spMk id="2" creationId="{00000000-0000-0000-0000-000000000000}"/>
          </ac:spMkLst>
        </pc:spChg>
        <pc:spChg chg="mod">
          <ac:chgData name="Yakov Pakhomov" userId="857a8f7002735771" providerId="LiveId" clId="{77711C24-CE86-4310-83AB-2BFC8187209E}" dt="2018-11-15T13:35:25.645" v="26900" actId="27636"/>
          <ac:spMkLst>
            <pc:docMk/>
            <pc:sldMk cId="3676174711" sldId="277"/>
            <ac:spMk id="3" creationId="{00000000-0000-0000-0000-000000000000}"/>
          </ac:spMkLst>
        </pc:spChg>
        <pc:spChg chg="mod">
          <ac:chgData name="Yakov Pakhomov" userId="857a8f7002735771" providerId="LiveId" clId="{77711C24-CE86-4310-83AB-2BFC8187209E}" dt="2018-11-15T13:35:15.672" v="26896" actId="6549"/>
          <ac:spMkLst>
            <pc:docMk/>
            <pc:sldMk cId="3676174711" sldId="277"/>
            <ac:spMk id="4" creationId="{EC6B015D-0B2D-4FBB-9ED8-E59A27E161A7}"/>
          </ac:spMkLst>
        </pc:spChg>
        <pc:graphicFrameChg chg="mod">
          <ac:chgData name="Yakov Pakhomov" userId="857a8f7002735771" providerId="LiveId" clId="{77711C24-CE86-4310-83AB-2BFC8187209E}" dt="2018-11-15T13:35:15.680" v="26898"/>
          <ac:graphicFrameMkLst>
            <pc:docMk/>
            <pc:sldMk cId="3676174711" sldId="277"/>
            <ac:graphicFrameMk id="5" creationId="{4B9AE7A3-2CA3-4423-A941-C760E1539AFB}"/>
          </ac:graphicFrameMkLst>
        </pc:graphicFrameChg>
      </pc:sldChg>
      <pc:sldChg chg="modSp">
        <pc:chgData name="Yakov Pakhomov" userId="857a8f7002735771" providerId="LiveId" clId="{77711C24-CE86-4310-83AB-2BFC8187209E}" dt="2018-11-14T08:39:21.620" v="1" actId="1076"/>
        <pc:sldMkLst>
          <pc:docMk/>
          <pc:sldMk cId="4029055221" sldId="278"/>
        </pc:sldMkLst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2" creationId="{00000000-0000-0000-0000-000000000000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4" creationId="{FEDEA56C-4828-4EDE-A56B-4E945ED46D30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5" creationId="{1831B9E6-5B7C-4096-BAD6-8C2388A5905A}"/>
          </ac:spMkLst>
        </pc:spChg>
        <pc:spChg chg="mod">
          <ac:chgData name="Yakov Pakhomov" userId="857a8f7002735771" providerId="LiveId" clId="{77711C24-CE86-4310-83AB-2BFC8187209E}" dt="2018-11-14T08:39:21.620" v="1" actId="1076"/>
          <ac:spMkLst>
            <pc:docMk/>
            <pc:sldMk cId="4029055221" sldId="278"/>
            <ac:spMk id="7" creationId="{D5F15469-F236-4F1D-88B8-0C5837195230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8" creationId="{00000000-0000-0000-0000-000000000000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10" creationId="{00000000-0000-0000-0000-000000000000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17" creationId="{215539A0-1507-44BF-A9B7-FB633B5B08FE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18" creationId="{0D861EB1-2003-4B6B-92B1-ADE9DD4DCFC1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20" creationId="{D07BE624-09A2-4FA7-988D-F867CDF47CC1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23" creationId="{3FAB3DD1-1EFD-45BE-8673-B96ACFE9D1E0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24" creationId="{2C9DD69D-D06C-4D5A-AB69-679F88AC0A53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25" creationId="{228DE0BF-BF49-4404-A626-6207DC87A838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26" creationId="{6AE4847C-40F1-464F-BE7B-CFEED735AD3B}"/>
          </ac:spMkLst>
        </pc:spChg>
        <pc:spChg chg="mod">
          <ac:chgData name="Yakov Pakhomov" userId="857a8f7002735771" providerId="LiveId" clId="{77711C24-CE86-4310-83AB-2BFC8187209E}" dt="2018-11-14T08:39:16.451" v="0" actId="1076"/>
          <ac:spMkLst>
            <pc:docMk/>
            <pc:sldMk cId="4029055221" sldId="278"/>
            <ac:spMk id="28" creationId="{21468821-CB78-42B7-ABE7-F519959FA131}"/>
          </ac:spMkLst>
        </pc:spChg>
      </pc:sldChg>
      <pc:sldChg chg="addSp delSp">
        <pc:chgData name="Yakov Pakhomov" userId="857a8f7002735771" providerId="LiveId" clId="{77711C24-CE86-4310-83AB-2BFC8187209E}" dt="2018-11-15T09:27:39.696" v="20691" actId="478"/>
        <pc:sldMkLst>
          <pc:docMk/>
          <pc:sldMk cId="3510979589" sldId="368"/>
        </pc:sldMkLst>
        <pc:graphicFrameChg chg="add del">
          <ac:chgData name="Yakov Pakhomov" userId="857a8f7002735771" providerId="LiveId" clId="{77711C24-CE86-4310-83AB-2BFC8187209E}" dt="2018-11-15T09:27:39.696" v="20691" actId="478"/>
          <ac:graphicFrameMkLst>
            <pc:docMk/>
            <pc:sldMk cId="3510979589" sldId="368"/>
            <ac:graphicFrameMk id="5" creationId="{36AA4999-AD8F-424D-8C91-021B6BE1BFCE}"/>
          </ac:graphicFrameMkLst>
        </pc:graphicFrameChg>
      </pc:sldChg>
      <pc:sldChg chg="addSp modSp add">
        <pc:chgData name="Yakov Pakhomov" userId="857a8f7002735771" providerId="LiveId" clId="{77711C24-CE86-4310-83AB-2BFC8187209E}" dt="2018-11-14T09:41:36.323" v="1238"/>
        <pc:sldMkLst>
          <pc:docMk/>
          <pc:sldMk cId="2647112207" sldId="484"/>
        </pc:sldMkLst>
        <pc:spChg chg="mod ord">
          <ac:chgData name="Yakov Pakhomov" userId="857a8f7002735771" providerId="LiveId" clId="{77711C24-CE86-4310-83AB-2BFC8187209E}" dt="2018-11-14T09:41:36.292" v="1224"/>
          <ac:spMkLst>
            <pc:docMk/>
            <pc:sldMk cId="2647112207" sldId="484"/>
            <ac:spMk id="2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36.291" v="1222"/>
          <ac:spMkLst>
            <pc:docMk/>
            <pc:sldMk cId="2647112207" sldId="484"/>
            <ac:spMk id="3" creationId="{00000000-0000-0000-0000-000000000000}"/>
          </ac:spMkLst>
        </pc:spChg>
        <pc:spChg chg="add mod ord">
          <ac:chgData name="Yakov Pakhomov" userId="857a8f7002735771" providerId="LiveId" clId="{77711C24-CE86-4310-83AB-2BFC8187209E}" dt="2018-11-14T09:41:36.291" v="1220"/>
          <ac:spMkLst>
            <pc:docMk/>
            <pc:sldMk cId="2647112207" sldId="484"/>
            <ac:spMk id="4" creationId="{1540EA97-4CF0-4226-9767-3095FCD7FB72}"/>
          </ac:spMkLst>
        </pc:spChg>
        <pc:graphicFrameChg chg="add mod ord">
          <ac:chgData name="Yakov Pakhomov" userId="857a8f7002735771" providerId="LiveId" clId="{77711C24-CE86-4310-83AB-2BFC8187209E}" dt="2018-11-14T09:41:36.323" v="1238"/>
          <ac:graphicFrameMkLst>
            <pc:docMk/>
            <pc:sldMk cId="2647112207" sldId="484"/>
            <ac:graphicFrameMk id="5" creationId="{FDE003EE-E836-42A1-9E60-F321B0F81872}"/>
          </ac:graphicFrameMkLst>
        </pc:graphicFrameChg>
      </pc:sldChg>
      <pc:sldChg chg="addSp delSp modSp add ord">
        <pc:chgData name="Yakov Pakhomov" userId="857a8f7002735771" providerId="LiveId" clId="{77711C24-CE86-4310-83AB-2BFC8187209E}" dt="2018-11-15T14:35:51.945" v="27592"/>
        <pc:sldMkLst>
          <pc:docMk/>
          <pc:sldMk cId="1310860015" sldId="485"/>
        </pc:sldMkLst>
        <pc:spChg chg="add del">
          <ac:chgData name="Yakov Pakhomov" userId="857a8f7002735771" providerId="LiveId" clId="{77711C24-CE86-4310-83AB-2BFC8187209E}" dt="2018-11-15T13:42:47.763" v="26921"/>
          <ac:spMkLst>
            <pc:docMk/>
            <pc:sldMk cId="1310860015" sldId="485"/>
            <ac:spMk id="6" creationId="{BFED0F32-3A00-494C-9590-E17DD6892269}"/>
          </ac:spMkLst>
        </pc:spChg>
        <pc:spChg chg="add mod">
          <ac:chgData name="Yakov Pakhomov" userId="857a8f7002735771" providerId="LiveId" clId="{77711C24-CE86-4310-83AB-2BFC8187209E}" dt="2018-11-15T13:54:05.201" v="27127" actId="14100"/>
          <ac:spMkLst>
            <pc:docMk/>
            <pc:sldMk cId="1310860015" sldId="485"/>
            <ac:spMk id="8" creationId="{DE1EEF6A-8189-481D-AAB3-A6F101E8B32C}"/>
          </ac:spMkLst>
        </pc:spChg>
        <pc:spChg chg="del mod">
          <ac:chgData name="Yakov Pakhomov" userId="857a8f7002735771" providerId="LiveId" clId="{77711C24-CE86-4310-83AB-2BFC8187209E}" dt="2018-11-14T09:39:26.252" v="676" actId="478"/>
          <ac:spMkLst>
            <pc:docMk/>
            <pc:sldMk cId="1310860015" sldId="485"/>
            <ac:spMk id="9" creationId="{00000000-0000-0000-0000-000000000000}"/>
          </ac:spMkLst>
        </pc:spChg>
        <pc:spChg chg="mod">
          <ac:chgData name="Yakov Pakhomov" userId="857a8f7002735771" providerId="LiveId" clId="{77711C24-CE86-4310-83AB-2BFC8187209E}" dt="2018-11-15T13:49:55.706" v="27058" actId="1076"/>
          <ac:spMkLst>
            <pc:docMk/>
            <pc:sldMk cId="1310860015" sldId="485"/>
            <ac:spMk id="10" creationId="{00000000-0000-0000-0000-000000000000}"/>
          </ac:spMkLst>
        </pc:spChg>
        <pc:spChg chg="del">
          <ac:chgData name="Yakov Pakhomov" userId="857a8f7002735771" providerId="LiveId" clId="{77711C24-CE86-4310-83AB-2BFC8187209E}" dt="2018-11-14T09:39:22.414" v="673" actId="478"/>
          <ac:spMkLst>
            <pc:docMk/>
            <pc:sldMk cId="1310860015" sldId="485"/>
            <ac:spMk id="11" creationId="{00000000-0000-0000-0000-000000000000}"/>
          </ac:spMkLst>
        </pc:spChg>
        <pc:spChg chg="add mod">
          <ac:chgData name="Yakov Pakhomov" userId="857a8f7002735771" providerId="LiveId" clId="{77711C24-CE86-4310-83AB-2BFC8187209E}" dt="2018-11-15T13:53:35.118" v="27120" actId="207"/>
          <ac:spMkLst>
            <pc:docMk/>
            <pc:sldMk cId="1310860015" sldId="485"/>
            <ac:spMk id="14" creationId="{99ED91FB-9093-43CE-8992-31E8092D5E5A}"/>
          </ac:spMkLst>
        </pc:spChg>
        <pc:spChg chg="add del">
          <ac:chgData name="Yakov Pakhomov" userId="857a8f7002735771" providerId="LiveId" clId="{77711C24-CE86-4310-83AB-2BFC8187209E}" dt="2018-11-15T13:48:54.832" v="27033"/>
          <ac:spMkLst>
            <pc:docMk/>
            <pc:sldMk cId="1310860015" sldId="485"/>
            <ac:spMk id="15" creationId="{1280CD9A-20E9-4A96-B109-A470615F73B7}"/>
          </ac:spMkLst>
        </pc:spChg>
        <pc:spChg chg="add mod">
          <ac:chgData name="Yakov Pakhomov" userId="857a8f7002735771" providerId="LiveId" clId="{77711C24-CE86-4310-83AB-2BFC8187209E}" dt="2018-11-15T13:53:15" v="27117" actId="1076"/>
          <ac:spMkLst>
            <pc:docMk/>
            <pc:sldMk cId="1310860015" sldId="485"/>
            <ac:spMk id="16" creationId="{585350C4-75BC-4BC5-888C-A277C96F88C2}"/>
          </ac:spMkLst>
        </pc:spChg>
        <pc:spChg chg="add mod">
          <ac:chgData name="Yakov Pakhomov" userId="857a8f7002735771" providerId="LiveId" clId="{77711C24-CE86-4310-83AB-2BFC8187209E}" dt="2018-11-15T13:53:15" v="27117" actId="1076"/>
          <ac:spMkLst>
            <pc:docMk/>
            <pc:sldMk cId="1310860015" sldId="485"/>
            <ac:spMk id="17" creationId="{E5431232-B2BD-49B7-9801-D7B857D2979C}"/>
          </ac:spMkLst>
        </pc:spChg>
        <pc:spChg chg="add del">
          <ac:chgData name="Yakov Pakhomov" userId="857a8f7002735771" providerId="LiveId" clId="{77711C24-CE86-4310-83AB-2BFC8187209E}" dt="2018-11-15T13:49:39.653" v="27052"/>
          <ac:spMkLst>
            <pc:docMk/>
            <pc:sldMk cId="1310860015" sldId="485"/>
            <ac:spMk id="18" creationId="{C0737680-E66B-4601-ACEE-ADDDDE936125}"/>
          </ac:spMkLst>
        </pc:spChg>
        <pc:spChg chg="add mod">
          <ac:chgData name="Yakov Pakhomov" userId="857a8f7002735771" providerId="LiveId" clId="{77711C24-CE86-4310-83AB-2BFC8187209E}" dt="2018-11-15T13:54:00.659" v="27126" actId="1076"/>
          <ac:spMkLst>
            <pc:docMk/>
            <pc:sldMk cId="1310860015" sldId="485"/>
            <ac:spMk id="19" creationId="{D9CFC34A-0C67-408B-B352-377E07FB550D}"/>
          </ac:spMkLst>
        </pc:spChg>
        <pc:spChg chg="add mod">
          <ac:chgData name="Yakov Pakhomov" userId="857a8f7002735771" providerId="LiveId" clId="{77711C24-CE86-4310-83AB-2BFC8187209E}" dt="2018-11-15T13:53:51.864" v="27124" actId="14100"/>
          <ac:spMkLst>
            <pc:docMk/>
            <pc:sldMk cId="1310860015" sldId="485"/>
            <ac:spMk id="20" creationId="{73988382-70C5-41BF-8C26-F9C17C7CEFE3}"/>
          </ac:spMkLst>
        </pc:spChg>
        <pc:graphicFrameChg chg="del">
          <ac:chgData name="Yakov Pakhomov" userId="857a8f7002735771" providerId="LiveId" clId="{77711C24-CE86-4310-83AB-2BFC8187209E}" dt="2018-11-14T09:39:22.414" v="673" actId="478"/>
          <ac:graphicFrameMkLst>
            <pc:docMk/>
            <pc:sldMk cId="1310860015" sldId="485"/>
            <ac:graphicFrameMk id="4" creationId="{00000000-0000-0000-0000-000000000000}"/>
          </ac:graphicFrameMkLst>
        </pc:graphicFrameChg>
        <pc:graphicFrameChg chg="del mod modGraphic">
          <ac:chgData name="Yakov Pakhomov" userId="857a8f7002735771" providerId="LiveId" clId="{77711C24-CE86-4310-83AB-2BFC8187209E}" dt="2018-11-15T13:45:44.487" v="26953" actId="478"/>
          <ac:graphicFrameMkLst>
            <pc:docMk/>
            <pc:sldMk cId="1310860015" sldId="485"/>
            <ac:graphicFrameMk id="5" creationId="{00000000-0000-0000-0000-000000000000}"/>
          </ac:graphicFrameMkLst>
        </pc:graphicFrameChg>
        <pc:graphicFrameChg chg="del mod">
          <ac:chgData name="Yakov Pakhomov" userId="857a8f7002735771" providerId="LiveId" clId="{77711C24-CE86-4310-83AB-2BFC8187209E}" dt="2018-11-15T13:45:44.487" v="26953" actId="478"/>
          <ac:graphicFrameMkLst>
            <pc:docMk/>
            <pc:sldMk cId="1310860015" sldId="485"/>
            <ac:graphicFrameMk id="7" creationId="{00000000-0000-0000-0000-000000000000}"/>
          </ac:graphicFrameMkLst>
        </pc:graphicFrameChg>
        <pc:picChg chg="del">
          <ac:chgData name="Yakov Pakhomov" userId="857a8f7002735771" providerId="LiveId" clId="{77711C24-CE86-4310-83AB-2BFC8187209E}" dt="2018-11-14T09:39:22.414" v="673" actId="478"/>
          <ac:picMkLst>
            <pc:docMk/>
            <pc:sldMk cId="1310860015" sldId="485"/>
            <ac:picMk id="13" creationId="{00000000-0000-0000-0000-000000000000}"/>
          </ac:picMkLst>
        </pc:picChg>
        <pc:cxnChg chg="del">
          <ac:chgData name="Yakov Pakhomov" userId="857a8f7002735771" providerId="LiveId" clId="{77711C24-CE86-4310-83AB-2BFC8187209E}" dt="2018-11-14T09:39:23.958" v="674" actId="478"/>
          <ac:cxnSpMkLst>
            <pc:docMk/>
            <pc:sldMk cId="1310860015" sldId="485"/>
            <ac:cxnSpMk id="12" creationId="{00000000-0000-0000-0000-000000000000}"/>
          </ac:cxnSpMkLst>
        </pc:cxnChg>
        <pc:cxnChg chg="add mod">
          <ac:chgData name="Yakov Pakhomov" userId="857a8f7002735771" providerId="LiveId" clId="{77711C24-CE86-4310-83AB-2BFC8187209E}" dt="2018-11-15T13:54:23.769" v="27128" actId="11529"/>
          <ac:cxnSpMkLst>
            <pc:docMk/>
            <pc:sldMk cId="1310860015" sldId="485"/>
            <ac:cxnSpMk id="22" creationId="{6A2B9624-3585-49EA-86D5-7C3D5D0B8365}"/>
          </ac:cxnSpMkLst>
        </pc:cxnChg>
        <pc:cxnChg chg="add mod">
          <ac:chgData name="Yakov Pakhomov" userId="857a8f7002735771" providerId="LiveId" clId="{77711C24-CE86-4310-83AB-2BFC8187209E}" dt="2018-11-15T13:54:50.301" v="27133" actId="1076"/>
          <ac:cxnSpMkLst>
            <pc:docMk/>
            <pc:sldMk cId="1310860015" sldId="485"/>
            <ac:cxnSpMk id="24" creationId="{8DE48CD8-49E1-4D10-ACB2-AF476DD6A932}"/>
          </ac:cxnSpMkLst>
        </pc:cxnChg>
        <pc:cxnChg chg="add mod">
          <ac:chgData name="Yakov Pakhomov" userId="857a8f7002735771" providerId="LiveId" clId="{77711C24-CE86-4310-83AB-2BFC8187209E}" dt="2018-11-15T13:54:46.963" v="27132" actId="1076"/>
          <ac:cxnSpMkLst>
            <pc:docMk/>
            <pc:sldMk cId="1310860015" sldId="485"/>
            <ac:cxnSpMk id="25" creationId="{3C4CAFF5-C85A-4464-A18F-677716DD6E91}"/>
          </ac:cxnSpMkLst>
        </pc:cxnChg>
      </pc:sldChg>
      <pc:sldChg chg="addSp delSp modSp add mod ord modNotes">
        <pc:chgData name="Yakov Pakhomov" userId="857a8f7002735771" providerId="LiveId" clId="{77711C24-CE86-4310-83AB-2BFC8187209E}" dt="2018-11-15T12:18:43.536" v="26351" actId="1076"/>
        <pc:sldMkLst>
          <pc:docMk/>
          <pc:sldMk cId="1252146177" sldId="486"/>
        </pc:sldMkLst>
        <pc:spChg chg="add mod ord">
          <ac:chgData name="Yakov Pakhomov" userId="857a8f7002735771" providerId="LiveId" clId="{77711C24-CE86-4310-83AB-2BFC8187209E}" dt="2018-11-15T12:18:08.771" v="26337" actId="6549"/>
          <ac:spMkLst>
            <pc:docMk/>
            <pc:sldMk cId="1252146177" sldId="486"/>
            <ac:spMk id="2" creationId="{C7AF4ED1-41B8-4F05-853E-27B867B6B62B}"/>
          </ac:spMkLst>
        </pc:spChg>
        <pc:spChg chg="mod ord">
          <ac:chgData name="Yakov Pakhomov" userId="857a8f7002735771" providerId="LiveId" clId="{77711C24-CE86-4310-83AB-2BFC8187209E}" dt="2018-11-14T09:41:30.630" v="1168"/>
          <ac:spMkLst>
            <pc:docMk/>
            <pc:sldMk cId="1252146177" sldId="486"/>
            <ac:spMk id="4" creationId="{00000000-0000-0000-0000-000000000000}"/>
          </ac:spMkLst>
        </pc:spChg>
        <pc:spChg chg="del">
          <ac:chgData name="Yakov Pakhomov" userId="857a8f7002735771" providerId="LiveId" clId="{77711C24-CE86-4310-83AB-2BFC8187209E}" dt="2018-11-14T09:39:41.139" v="678" actId="478"/>
          <ac:spMkLst>
            <pc:docMk/>
            <pc:sldMk cId="1252146177" sldId="486"/>
            <ac:spMk id="8" creationId="{00000000-0000-0000-0000-000000000000}"/>
          </ac:spMkLst>
        </pc:spChg>
        <pc:spChg chg="add del">
          <ac:chgData name="Yakov Pakhomov" userId="857a8f7002735771" providerId="LiveId" clId="{77711C24-CE86-4310-83AB-2BFC8187209E}" dt="2018-11-15T12:18:35.198" v="26346" actId="478"/>
          <ac:spMkLst>
            <pc:docMk/>
            <pc:sldMk cId="1252146177" sldId="486"/>
            <ac:spMk id="14" creationId="{5D75608D-8D9C-4A5C-84E1-E0E1707967BE}"/>
          </ac:spMkLst>
        </pc:spChg>
        <pc:spChg chg="mod ord">
          <ac:chgData name="Yakov Pakhomov" userId="857a8f7002735771" providerId="LiveId" clId="{77711C24-CE86-4310-83AB-2BFC8187209E}" dt="2018-11-15T12:18:08.230" v="26302" actId="20577"/>
          <ac:spMkLst>
            <pc:docMk/>
            <pc:sldMk cId="1252146177" sldId="486"/>
            <ac:spMk id="38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5T12:18:43.536" v="26351" actId="1076"/>
          <ac:spMkLst>
            <pc:docMk/>
            <pc:sldMk cId="1252146177" sldId="486"/>
            <ac:spMk id="41" creationId="{00000000-0000-0000-0000-000000000000}"/>
          </ac:spMkLst>
        </pc:spChg>
        <pc:spChg chg="del mod ord">
          <ac:chgData name="Yakov Pakhomov" userId="857a8f7002735771" providerId="LiveId" clId="{77711C24-CE86-4310-83AB-2BFC8187209E}" dt="2018-11-15T12:06:39.511" v="26204" actId="478"/>
          <ac:spMkLst>
            <pc:docMk/>
            <pc:sldMk cId="1252146177" sldId="486"/>
            <ac:spMk id="44" creationId="{00000000-0000-0000-0000-000000000000}"/>
          </ac:spMkLst>
        </pc:spChg>
        <pc:graphicFrameChg chg="add mod ord">
          <ac:chgData name="Yakov Pakhomov" userId="857a8f7002735771" providerId="LiveId" clId="{77711C24-CE86-4310-83AB-2BFC8187209E}" dt="2018-11-15T12:18:08.776" v="26339"/>
          <ac:graphicFrameMkLst>
            <pc:docMk/>
            <pc:sldMk cId="1252146177" sldId="486"/>
            <ac:graphicFrameMk id="3" creationId="{8F9D4E7F-F25D-40FF-9AB4-9FB9942FE3EE}"/>
          </ac:graphicFrameMkLst>
        </pc:graphicFrameChg>
        <pc:graphicFrameChg chg="add mod">
          <ac:chgData name="Yakov Pakhomov" userId="857a8f7002735771" providerId="LiveId" clId="{77711C24-CE86-4310-83AB-2BFC8187209E}" dt="2018-11-15T12:17:43.360" v="26226"/>
          <ac:graphicFrameMkLst>
            <pc:docMk/>
            <pc:sldMk cId="1252146177" sldId="486"/>
            <ac:graphicFrameMk id="13" creationId="{D178B74F-8E51-41EB-AFB2-CFEFB18A0531}"/>
          </ac:graphicFrameMkLst>
        </pc:graphicFrameChg>
        <pc:graphicFrameChg chg="mod">
          <ac:chgData name="Yakov Pakhomov" userId="857a8f7002735771" providerId="LiveId" clId="{77711C24-CE86-4310-83AB-2BFC8187209E}" dt="2018-11-15T12:18:21.792" v="26344" actId="403"/>
          <ac:graphicFrameMkLst>
            <pc:docMk/>
            <pc:sldMk cId="1252146177" sldId="486"/>
            <ac:graphicFrameMk id="50" creationId="{00000000-0000-0000-0000-000000000000}"/>
          </ac:graphicFrameMkLst>
        </pc:graphicFrameChg>
        <pc:graphicFrameChg chg="del">
          <ac:chgData name="Yakov Pakhomov" userId="857a8f7002735771" providerId="LiveId" clId="{77711C24-CE86-4310-83AB-2BFC8187209E}" dt="2018-11-14T09:39:36.903" v="677" actId="478"/>
          <ac:graphicFrameMkLst>
            <pc:docMk/>
            <pc:sldMk cId="1252146177" sldId="486"/>
            <ac:graphicFrameMk id="51" creationId="{00000000-0000-0000-0000-000000000000}"/>
          </ac:graphicFrameMkLst>
        </pc:graphicFrameChg>
        <pc:picChg chg="del">
          <ac:chgData name="Yakov Pakhomov" userId="857a8f7002735771" providerId="LiveId" clId="{77711C24-CE86-4310-83AB-2BFC8187209E}" dt="2018-11-14T09:39:41.139" v="678" actId="478"/>
          <ac:picMkLst>
            <pc:docMk/>
            <pc:sldMk cId="1252146177" sldId="486"/>
            <ac:picMk id="10" creationId="{00000000-0000-0000-0000-000000000000}"/>
          </ac:picMkLst>
        </pc:picChg>
        <pc:cxnChg chg="del">
          <ac:chgData name="Yakov Pakhomov" userId="857a8f7002735771" providerId="LiveId" clId="{77711C24-CE86-4310-83AB-2BFC8187209E}" dt="2018-11-14T09:39:41.139" v="678" actId="478"/>
          <ac:cxnSpMkLst>
            <pc:docMk/>
            <pc:sldMk cId="1252146177" sldId="486"/>
            <ac:cxnSpMk id="9" creationId="{00000000-0000-0000-0000-000000000000}"/>
          </ac:cxnSpMkLst>
        </pc:cxnChg>
      </pc:sldChg>
      <pc:sldChg chg="addSp delSp modSp add modNotes">
        <pc:chgData name="Yakov Pakhomov" userId="857a8f7002735771" providerId="LiveId" clId="{77711C24-CE86-4310-83AB-2BFC8187209E}" dt="2018-11-14T09:41:27.241" v="1115"/>
        <pc:sldMkLst>
          <pc:docMk/>
          <pc:sldMk cId="2783542826" sldId="487"/>
        </pc:sldMkLst>
        <pc:spChg chg="add mod ord">
          <ac:chgData name="Yakov Pakhomov" userId="857a8f7002735771" providerId="LiveId" clId="{77711C24-CE86-4310-83AB-2BFC8187209E}" dt="2018-11-14T09:41:27.209" v="1092"/>
          <ac:spMkLst>
            <pc:docMk/>
            <pc:sldMk cId="2783542826" sldId="487"/>
            <ac:spMk id="2" creationId="{EC7B4120-F3C0-4681-8445-87A23D98B24E}"/>
          </ac:spMkLst>
        </pc:spChg>
        <pc:spChg chg="del">
          <ac:chgData name="Yakov Pakhomov" userId="857a8f7002735771" providerId="LiveId" clId="{77711C24-CE86-4310-83AB-2BFC8187209E}" dt="2018-11-14T09:39:51.595" v="679" actId="478"/>
          <ac:spMkLst>
            <pc:docMk/>
            <pc:sldMk cId="2783542826" sldId="487"/>
            <ac:spMk id="8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27.210" v="1094"/>
          <ac:spMkLst>
            <pc:docMk/>
            <pc:sldMk cId="2783542826" sldId="487"/>
            <ac:spMk id="59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27.212" v="1101"/>
          <ac:spMkLst>
            <pc:docMk/>
            <pc:sldMk cId="2783542826" sldId="487"/>
            <ac:spMk id="62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27.210" v="1096"/>
          <ac:spMkLst>
            <pc:docMk/>
            <pc:sldMk cId="2783542826" sldId="487"/>
            <ac:spMk id="74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27.211" v="1098"/>
          <ac:spMkLst>
            <pc:docMk/>
            <pc:sldMk cId="2783542826" sldId="487"/>
            <ac:spMk id="79" creationId="{00000000-0000-0000-0000-000000000000}"/>
          </ac:spMkLst>
        </pc:spChg>
        <pc:graphicFrameChg chg="add mod ord">
          <ac:chgData name="Yakov Pakhomov" userId="857a8f7002735771" providerId="LiveId" clId="{77711C24-CE86-4310-83AB-2BFC8187209E}" dt="2018-11-14T09:41:27.241" v="1115"/>
          <ac:graphicFrameMkLst>
            <pc:docMk/>
            <pc:sldMk cId="2783542826" sldId="487"/>
            <ac:graphicFrameMk id="3" creationId="{812BBB91-B90B-42FD-ADC6-0833CCF4B083}"/>
          </ac:graphicFrameMkLst>
        </pc:graphicFrameChg>
        <pc:graphicFrameChg chg="mod">
          <ac:chgData name="Yakov Pakhomov" userId="857a8f7002735771" providerId="LiveId" clId="{77711C24-CE86-4310-83AB-2BFC8187209E}" dt="2018-11-14T09:41:27.211" v="1099"/>
          <ac:graphicFrameMkLst>
            <pc:docMk/>
            <pc:sldMk cId="2783542826" sldId="487"/>
            <ac:graphicFrameMk id="90" creationId="{00000000-0000-0000-0000-000000000000}"/>
          </ac:graphicFrameMkLst>
        </pc:graphicFrameChg>
        <pc:graphicFrameChg chg="del">
          <ac:chgData name="Yakov Pakhomov" userId="857a8f7002735771" providerId="LiveId" clId="{77711C24-CE86-4310-83AB-2BFC8187209E}" dt="2018-11-14T09:39:53.960" v="680" actId="478"/>
          <ac:graphicFrameMkLst>
            <pc:docMk/>
            <pc:sldMk cId="2783542826" sldId="487"/>
            <ac:graphicFrameMk id="91" creationId="{00000000-0000-0000-0000-000000000000}"/>
          </ac:graphicFrameMkLst>
        </pc:graphicFrameChg>
        <pc:picChg chg="del">
          <ac:chgData name="Yakov Pakhomov" userId="857a8f7002735771" providerId="LiveId" clId="{77711C24-CE86-4310-83AB-2BFC8187209E}" dt="2018-11-14T09:39:56.662" v="682" actId="478"/>
          <ac:picMkLst>
            <pc:docMk/>
            <pc:sldMk cId="2783542826" sldId="487"/>
            <ac:picMk id="10" creationId="{00000000-0000-0000-0000-000000000000}"/>
          </ac:picMkLst>
        </pc:picChg>
        <pc:cxnChg chg="del">
          <ac:chgData name="Yakov Pakhomov" userId="857a8f7002735771" providerId="LiveId" clId="{77711C24-CE86-4310-83AB-2BFC8187209E}" dt="2018-11-14T09:39:55.499" v="681" actId="478"/>
          <ac:cxnSpMkLst>
            <pc:docMk/>
            <pc:sldMk cId="2783542826" sldId="487"/>
            <ac:cxnSpMk id="9" creationId="{00000000-0000-0000-0000-000000000000}"/>
          </ac:cxnSpMkLst>
        </pc:cxnChg>
      </pc:sldChg>
      <pc:sldChg chg="addSp delSp modSp add modNotes">
        <pc:chgData name="Yakov Pakhomov" userId="857a8f7002735771" providerId="LiveId" clId="{77711C24-CE86-4310-83AB-2BFC8187209E}" dt="2018-11-14T09:41:23.168" v="1048"/>
        <pc:sldMkLst>
          <pc:docMk/>
          <pc:sldMk cId="2676935169" sldId="488"/>
        </pc:sldMkLst>
        <pc:spChg chg="add mod ord">
          <ac:chgData name="Yakov Pakhomov" userId="857a8f7002735771" providerId="LiveId" clId="{77711C24-CE86-4310-83AB-2BFC8187209E}" dt="2018-11-14T09:41:23.133" v="1023"/>
          <ac:spMkLst>
            <pc:docMk/>
            <pc:sldMk cId="2676935169" sldId="488"/>
            <ac:spMk id="2" creationId="{7ACCCA1E-4BA7-4E2C-A96F-C33D60B8B6D1}"/>
          </ac:spMkLst>
        </pc:spChg>
        <pc:spChg chg="mod ord">
          <ac:chgData name="Yakov Pakhomov" userId="857a8f7002735771" providerId="LiveId" clId="{77711C24-CE86-4310-83AB-2BFC8187209E}" dt="2018-11-14T09:41:23.135" v="1031"/>
          <ac:spMkLst>
            <pc:docMk/>
            <pc:sldMk cId="2676935169" sldId="488"/>
            <ac:spMk id="5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23.133" v="1025"/>
          <ac:spMkLst>
            <pc:docMk/>
            <pc:sldMk cId="2676935169" sldId="488"/>
            <ac:spMk id="7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23.136" v="1034"/>
          <ac:spMkLst>
            <pc:docMk/>
            <pc:sldMk cId="2676935169" sldId="488"/>
            <ac:spMk id="8" creationId="{00000000-0000-0000-0000-000000000000}"/>
          </ac:spMkLst>
        </pc:spChg>
        <pc:spChg chg="del">
          <ac:chgData name="Yakov Pakhomov" userId="857a8f7002735771" providerId="LiveId" clId="{77711C24-CE86-4310-83AB-2BFC8187209E}" dt="2018-11-14T09:40:10.391" v="684" actId="478"/>
          <ac:spMkLst>
            <pc:docMk/>
            <pc:sldMk cId="2676935169" sldId="488"/>
            <ac:spMk id="9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23.134" v="1027"/>
          <ac:spMkLst>
            <pc:docMk/>
            <pc:sldMk cId="2676935169" sldId="488"/>
            <ac:spMk id="72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23.134" v="1029"/>
          <ac:spMkLst>
            <pc:docMk/>
            <pc:sldMk cId="2676935169" sldId="488"/>
            <ac:spMk id="73" creationId="{00000000-0000-0000-0000-000000000000}"/>
          </ac:spMkLst>
        </pc:spChg>
        <pc:graphicFrameChg chg="add mod ord">
          <ac:chgData name="Yakov Pakhomov" userId="857a8f7002735771" providerId="LiveId" clId="{77711C24-CE86-4310-83AB-2BFC8187209E}" dt="2018-11-14T09:41:23.168" v="1048"/>
          <ac:graphicFrameMkLst>
            <pc:docMk/>
            <pc:sldMk cId="2676935169" sldId="488"/>
            <ac:graphicFrameMk id="3" creationId="{8EE820D2-BCF5-45AA-AC5B-8A6CD729C321}"/>
          </ac:graphicFrameMkLst>
        </pc:graphicFrameChg>
        <pc:graphicFrameChg chg="mod">
          <ac:chgData name="Yakov Pakhomov" userId="857a8f7002735771" providerId="LiveId" clId="{77711C24-CE86-4310-83AB-2BFC8187209E}" dt="2018-11-14T09:41:23.136" v="1032"/>
          <ac:graphicFrameMkLst>
            <pc:docMk/>
            <pc:sldMk cId="2676935169" sldId="488"/>
            <ac:graphicFrameMk id="83" creationId="{00000000-0000-0000-0000-000000000000}"/>
          </ac:graphicFrameMkLst>
        </pc:graphicFrameChg>
        <pc:graphicFrameChg chg="del">
          <ac:chgData name="Yakov Pakhomov" userId="857a8f7002735771" providerId="LiveId" clId="{77711C24-CE86-4310-83AB-2BFC8187209E}" dt="2018-11-14T09:40:09.151" v="683" actId="478"/>
          <ac:graphicFrameMkLst>
            <pc:docMk/>
            <pc:sldMk cId="2676935169" sldId="488"/>
            <ac:graphicFrameMk id="84" creationId="{00000000-0000-0000-0000-000000000000}"/>
          </ac:graphicFrameMkLst>
        </pc:graphicFrameChg>
        <pc:picChg chg="del">
          <ac:chgData name="Yakov Pakhomov" userId="857a8f7002735771" providerId="LiveId" clId="{77711C24-CE86-4310-83AB-2BFC8187209E}" dt="2018-11-14T09:40:11.364" v="685" actId="478"/>
          <ac:picMkLst>
            <pc:docMk/>
            <pc:sldMk cId="2676935169" sldId="488"/>
            <ac:picMk id="11" creationId="{00000000-0000-0000-0000-000000000000}"/>
          </ac:picMkLst>
        </pc:picChg>
        <pc:cxnChg chg="del">
          <ac:chgData name="Yakov Pakhomov" userId="857a8f7002735771" providerId="LiveId" clId="{77711C24-CE86-4310-83AB-2BFC8187209E}" dt="2018-11-14T09:40:12.899" v="686" actId="478"/>
          <ac:cxnSpMkLst>
            <pc:docMk/>
            <pc:sldMk cId="2676935169" sldId="488"/>
            <ac:cxnSpMk id="10" creationId="{00000000-0000-0000-0000-000000000000}"/>
          </ac:cxnSpMkLst>
        </pc:cxnChg>
      </pc:sldChg>
      <pc:sldChg chg="addSp delSp modSp add modNotes">
        <pc:chgData name="Yakov Pakhomov" userId="857a8f7002735771" providerId="LiveId" clId="{77711C24-CE86-4310-83AB-2BFC8187209E}" dt="2018-11-14T09:41:19.254" v="979"/>
        <pc:sldMkLst>
          <pc:docMk/>
          <pc:sldMk cId="2879573646" sldId="489"/>
        </pc:sldMkLst>
        <pc:spChg chg="add mod ord">
          <ac:chgData name="Yakov Pakhomov" userId="857a8f7002735771" providerId="LiveId" clId="{77711C24-CE86-4310-83AB-2BFC8187209E}" dt="2018-11-14T09:41:19.226" v="956"/>
          <ac:spMkLst>
            <pc:docMk/>
            <pc:sldMk cId="2879573646" sldId="489"/>
            <ac:spMk id="2" creationId="{E9F26F42-E86E-4EDB-8C69-3CDA5476CF25}"/>
          </ac:spMkLst>
        </pc:spChg>
        <pc:spChg chg="mod ord">
          <ac:chgData name="Yakov Pakhomov" userId="857a8f7002735771" providerId="LiveId" clId="{77711C24-CE86-4310-83AB-2BFC8187209E}" dt="2018-11-14T09:41:19.227" v="958"/>
          <ac:spMkLst>
            <pc:docMk/>
            <pc:sldMk cId="2879573646" sldId="489"/>
            <ac:spMk id="3" creationId="{00000000-0000-0000-0000-000000000000}"/>
          </ac:spMkLst>
        </pc:spChg>
        <pc:spChg chg="del">
          <ac:chgData name="Yakov Pakhomov" userId="857a8f7002735771" providerId="LiveId" clId="{77711C24-CE86-4310-83AB-2BFC8187209E}" dt="2018-11-14T09:40:18.859" v="688" actId="478"/>
          <ac:spMkLst>
            <pc:docMk/>
            <pc:sldMk cId="2879573646" sldId="489"/>
            <ac:spMk id="8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9.229" v="965"/>
          <ac:spMkLst>
            <pc:docMk/>
            <pc:sldMk cId="2879573646" sldId="489"/>
            <ac:spMk id="37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9.227" v="960"/>
          <ac:spMkLst>
            <pc:docMk/>
            <pc:sldMk cId="2879573646" sldId="489"/>
            <ac:spMk id="72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9.228" v="962"/>
          <ac:spMkLst>
            <pc:docMk/>
            <pc:sldMk cId="2879573646" sldId="489"/>
            <ac:spMk id="73" creationId="{00000000-0000-0000-0000-000000000000}"/>
          </ac:spMkLst>
        </pc:spChg>
        <pc:graphicFrameChg chg="add mod ord">
          <ac:chgData name="Yakov Pakhomov" userId="857a8f7002735771" providerId="LiveId" clId="{77711C24-CE86-4310-83AB-2BFC8187209E}" dt="2018-11-14T09:41:19.254" v="979"/>
          <ac:graphicFrameMkLst>
            <pc:docMk/>
            <pc:sldMk cId="2879573646" sldId="489"/>
            <ac:graphicFrameMk id="4" creationId="{917BF87E-BFE5-43C2-B52A-2B8C0EB5AC0E}"/>
          </ac:graphicFrameMkLst>
        </pc:graphicFrameChg>
        <pc:graphicFrameChg chg="mod">
          <ac:chgData name="Yakov Pakhomov" userId="857a8f7002735771" providerId="LiveId" clId="{77711C24-CE86-4310-83AB-2BFC8187209E}" dt="2018-11-14T09:41:19.228" v="963"/>
          <ac:graphicFrameMkLst>
            <pc:docMk/>
            <pc:sldMk cId="2879573646" sldId="489"/>
            <ac:graphicFrameMk id="79" creationId="{00000000-0000-0000-0000-000000000000}"/>
          </ac:graphicFrameMkLst>
        </pc:graphicFrameChg>
        <pc:graphicFrameChg chg="del">
          <ac:chgData name="Yakov Pakhomov" userId="857a8f7002735771" providerId="LiveId" clId="{77711C24-CE86-4310-83AB-2BFC8187209E}" dt="2018-11-14T09:40:18.010" v="687" actId="478"/>
          <ac:graphicFrameMkLst>
            <pc:docMk/>
            <pc:sldMk cId="2879573646" sldId="489"/>
            <ac:graphicFrameMk id="80" creationId="{00000000-0000-0000-0000-000000000000}"/>
          </ac:graphicFrameMkLst>
        </pc:graphicFrameChg>
        <pc:picChg chg="del">
          <ac:chgData name="Yakov Pakhomov" userId="857a8f7002735771" providerId="LiveId" clId="{77711C24-CE86-4310-83AB-2BFC8187209E}" dt="2018-11-14T09:40:21.171" v="690" actId="478"/>
          <ac:picMkLst>
            <pc:docMk/>
            <pc:sldMk cId="2879573646" sldId="489"/>
            <ac:picMk id="10" creationId="{00000000-0000-0000-0000-000000000000}"/>
          </ac:picMkLst>
        </pc:picChg>
        <pc:cxnChg chg="del">
          <ac:chgData name="Yakov Pakhomov" userId="857a8f7002735771" providerId="LiveId" clId="{77711C24-CE86-4310-83AB-2BFC8187209E}" dt="2018-11-14T09:40:20.106" v="689" actId="478"/>
          <ac:cxnSpMkLst>
            <pc:docMk/>
            <pc:sldMk cId="2879573646" sldId="489"/>
            <ac:cxnSpMk id="9" creationId="{00000000-0000-0000-0000-000000000000}"/>
          </ac:cxnSpMkLst>
        </pc:cxnChg>
      </pc:sldChg>
      <pc:sldChg chg="addSp delSp modSp add modNotes">
        <pc:chgData name="Yakov Pakhomov" userId="857a8f7002735771" providerId="LiveId" clId="{77711C24-CE86-4310-83AB-2BFC8187209E}" dt="2018-11-14T09:41:15.153" v="912"/>
        <pc:sldMkLst>
          <pc:docMk/>
          <pc:sldMk cId="431823109" sldId="490"/>
        </pc:sldMkLst>
        <pc:spChg chg="add mod ord">
          <ac:chgData name="Yakov Pakhomov" userId="857a8f7002735771" providerId="LiveId" clId="{77711C24-CE86-4310-83AB-2BFC8187209E}" dt="2018-11-14T09:41:15.115" v="885"/>
          <ac:spMkLst>
            <pc:docMk/>
            <pc:sldMk cId="431823109" sldId="490"/>
            <ac:spMk id="2" creationId="{4BAB5F0B-D07C-4BDB-830F-6DBEDFA77D6C}"/>
          </ac:spMkLst>
        </pc:spChg>
        <pc:spChg chg="del">
          <ac:chgData name="Yakov Pakhomov" userId="857a8f7002735771" providerId="LiveId" clId="{77711C24-CE86-4310-83AB-2BFC8187209E}" dt="2018-11-14T09:40:30.928" v="693" actId="478"/>
          <ac:spMkLst>
            <pc:docMk/>
            <pc:sldMk cId="431823109" sldId="490"/>
            <ac:spMk id="11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5.115" v="887"/>
          <ac:spMkLst>
            <pc:docMk/>
            <pc:sldMk cId="431823109" sldId="490"/>
            <ac:spMk id="26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5.116" v="889"/>
          <ac:spMkLst>
            <pc:docMk/>
            <pc:sldMk cId="431823109" sldId="490"/>
            <ac:spMk id="27" creationId="{00000000-0000-0000-0000-000000000000}"/>
          </ac:spMkLst>
        </pc:spChg>
        <pc:spChg chg="del">
          <ac:chgData name="Yakov Pakhomov" userId="857a8f7002735771" providerId="LiveId" clId="{77711C24-CE86-4310-83AB-2BFC8187209E}" dt="2018-11-14T09:40:29.203" v="692" actId="478"/>
          <ac:spMkLst>
            <pc:docMk/>
            <pc:sldMk cId="431823109" sldId="490"/>
            <ac:spMk id="29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5.119" v="894"/>
          <ac:spMkLst>
            <pc:docMk/>
            <pc:sldMk cId="431823109" sldId="490"/>
            <ac:spMk id="30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5.121" v="898"/>
          <ac:spMkLst>
            <pc:docMk/>
            <pc:sldMk cId="431823109" sldId="490"/>
            <ac:spMk id="69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5.117" v="891"/>
          <ac:spMkLst>
            <pc:docMk/>
            <pc:sldMk cId="431823109" sldId="490"/>
            <ac:spMk id="166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5.120" v="896"/>
          <ac:spMkLst>
            <pc:docMk/>
            <pc:sldMk cId="431823109" sldId="490"/>
            <ac:spMk id="170" creationId="{00000000-0000-0000-0000-000000000000}"/>
          </ac:spMkLst>
        </pc:spChg>
        <pc:graphicFrameChg chg="add mod ord">
          <ac:chgData name="Yakov Pakhomov" userId="857a8f7002735771" providerId="LiveId" clId="{77711C24-CE86-4310-83AB-2BFC8187209E}" dt="2018-11-14T09:41:15.153" v="912"/>
          <ac:graphicFrameMkLst>
            <pc:docMk/>
            <pc:sldMk cId="431823109" sldId="490"/>
            <ac:graphicFrameMk id="3" creationId="{37262ABD-26A7-4CE8-B21B-AA6962084E27}"/>
          </ac:graphicFrameMkLst>
        </pc:graphicFrameChg>
        <pc:graphicFrameChg chg="mod">
          <ac:chgData name="Yakov Pakhomov" userId="857a8f7002735771" providerId="LiveId" clId="{77711C24-CE86-4310-83AB-2BFC8187209E}" dt="2018-11-14T09:41:15.118" v="892"/>
          <ac:graphicFrameMkLst>
            <pc:docMk/>
            <pc:sldMk cId="431823109" sldId="490"/>
            <ac:graphicFrameMk id="168" creationId="{00000000-0000-0000-0000-000000000000}"/>
          </ac:graphicFrameMkLst>
        </pc:graphicFrameChg>
        <pc:graphicFrameChg chg="del">
          <ac:chgData name="Yakov Pakhomov" userId="857a8f7002735771" providerId="LiveId" clId="{77711C24-CE86-4310-83AB-2BFC8187209E}" dt="2018-11-14T09:40:27.191" v="691" actId="478"/>
          <ac:graphicFrameMkLst>
            <pc:docMk/>
            <pc:sldMk cId="431823109" sldId="490"/>
            <ac:graphicFrameMk id="169" creationId="{00000000-0000-0000-0000-000000000000}"/>
          </ac:graphicFrameMkLst>
        </pc:graphicFrameChg>
        <pc:picChg chg="del">
          <ac:chgData name="Yakov Pakhomov" userId="857a8f7002735771" providerId="LiveId" clId="{77711C24-CE86-4310-83AB-2BFC8187209E}" dt="2018-11-14T09:40:31.754" v="694" actId="478"/>
          <ac:picMkLst>
            <pc:docMk/>
            <pc:sldMk cId="431823109" sldId="490"/>
            <ac:picMk id="13" creationId="{00000000-0000-0000-0000-000000000000}"/>
          </ac:picMkLst>
        </pc:picChg>
        <pc:cxnChg chg="del">
          <ac:chgData name="Yakov Pakhomov" userId="857a8f7002735771" providerId="LiveId" clId="{77711C24-CE86-4310-83AB-2BFC8187209E}" dt="2018-11-14T09:40:32.763" v="695" actId="478"/>
          <ac:cxnSpMkLst>
            <pc:docMk/>
            <pc:sldMk cId="431823109" sldId="490"/>
            <ac:cxnSpMk id="12" creationId="{00000000-0000-0000-0000-000000000000}"/>
          </ac:cxnSpMkLst>
        </pc:cxnChg>
      </pc:sldChg>
      <pc:sldChg chg="addSp delSp modSp add del modNotes">
        <pc:chgData name="Yakov Pakhomov" userId="857a8f7002735771" providerId="LiveId" clId="{77711C24-CE86-4310-83AB-2BFC8187209E}" dt="2018-11-15T13:38:49.013" v="26911" actId="2696"/>
        <pc:sldMkLst>
          <pc:docMk/>
          <pc:sldMk cId="4011990692" sldId="491"/>
        </pc:sldMkLst>
        <pc:spChg chg="mod ord">
          <ac:chgData name="Yakov Pakhomov" userId="857a8f7002735771" providerId="LiveId" clId="{77711C24-CE86-4310-83AB-2BFC8187209E}" dt="2018-11-14T09:41:11.973" v="827"/>
          <ac:spMkLst>
            <pc:docMk/>
            <pc:sldMk cId="4011990692" sldId="491"/>
            <ac:spMk id="2" creationId="{00000000-0000-0000-0000-000000000000}"/>
          </ac:spMkLst>
        </pc:spChg>
        <pc:spChg chg="add mod ord">
          <ac:chgData name="Yakov Pakhomov" userId="857a8f7002735771" providerId="LiveId" clId="{77711C24-CE86-4310-83AB-2BFC8187209E}" dt="2018-11-14T09:41:11.970" v="818"/>
          <ac:spMkLst>
            <pc:docMk/>
            <pc:sldMk cId="4011990692" sldId="491"/>
            <ac:spMk id="3" creationId="{3586F197-23E5-46F0-A656-10FD806582F4}"/>
          </ac:spMkLst>
        </pc:spChg>
        <pc:spChg chg="del">
          <ac:chgData name="Yakov Pakhomov" userId="857a8f7002735771" providerId="LiveId" clId="{77711C24-CE86-4310-83AB-2BFC8187209E}" dt="2018-11-14T09:40:49.333" v="701" actId="478"/>
          <ac:spMkLst>
            <pc:docMk/>
            <pc:sldMk cId="4011990692" sldId="491"/>
            <ac:spMk id="10" creationId="{00000000-0000-0000-0000-000000000000}"/>
          </ac:spMkLst>
        </pc:spChg>
        <pc:spChg chg="del">
          <ac:chgData name="Yakov Pakhomov" userId="857a8f7002735771" providerId="LiveId" clId="{77711C24-CE86-4310-83AB-2BFC8187209E}" dt="2018-11-14T09:40:49.333" v="701" actId="478"/>
          <ac:spMkLst>
            <pc:docMk/>
            <pc:sldMk cId="4011990692" sldId="491"/>
            <ac:spMk id="26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1.970" v="820"/>
          <ac:spMkLst>
            <pc:docMk/>
            <pc:sldMk cId="4011990692" sldId="491"/>
            <ac:spMk id="27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1.971" v="822"/>
          <ac:spMkLst>
            <pc:docMk/>
            <pc:sldMk cId="4011990692" sldId="491"/>
            <ac:spMk id="75" creationId="{00000000-0000-0000-0000-000000000000}"/>
          </ac:spMkLst>
        </pc:spChg>
        <pc:spChg chg="del mod">
          <ac:chgData name="Yakov Pakhomov" userId="857a8f7002735771" providerId="LiveId" clId="{77711C24-CE86-4310-83AB-2BFC8187209E}" dt="2018-11-14T09:40:37.963" v="697" actId="478"/>
          <ac:spMkLst>
            <pc:docMk/>
            <pc:sldMk cId="4011990692" sldId="491"/>
            <ac:spMk id="165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11.972" v="824"/>
          <ac:spMkLst>
            <pc:docMk/>
            <pc:sldMk cId="4011990692" sldId="491"/>
            <ac:spMk id="166" creationId="{00000000-0000-0000-0000-000000000000}"/>
          </ac:spMkLst>
        </pc:spChg>
        <pc:graphicFrameChg chg="add mod ord">
          <ac:chgData name="Yakov Pakhomov" userId="857a8f7002735771" providerId="LiveId" clId="{77711C24-CE86-4310-83AB-2BFC8187209E}" dt="2018-11-14T09:41:12.026" v="841"/>
          <ac:graphicFrameMkLst>
            <pc:docMk/>
            <pc:sldMk cId="4011990692" sldId="491"/>
            <ac:graphicFrameMk id="4" creationId="{FBE1CD7C-81A9-4175-ACEF-89324525C4E9}"/>
          </ac:graphicFrameMkLst>
        </pc:graphicFrameChg>
        <pc:graphicFrameChg chg="add del mod">
          <ac:chgData name="Yakov Pakhomov" userId="857a8f7002735771" providerId="LiveId" clId="{77711C24-CE86-4310-83AB-2BFC8187209E}" dt="2018-11-14T09:41:11.972" v="825"/>
          <ac:graphicFrameMkLst>
            <pc:docMk/>
            <pc:sldMk cId="4011990692" sldId="491"/>
            <ac:graphicFrameMk id="168" creationId="{00000000-0000-0000-0000-000000000000}"/>
          </ac:graphicFrameMkLst>
        </pc:graphicFrameChg>
        <pc:graphicFrameChg chg="del">
          <ac:chgData name="Yakov Pakhomov" userId="857a8f7002735771" providerId="LiveId" clId="{77711C24-CE86-4310-83AB-2BFC8187209E}" dt="2018-11-14T09:40:46.151" v="700" actId="478"/>
          <ac:graphicFrameMkLst>
            <pc:docMk/>
            <pc:sldMk cId="4011990692" sldId="491"/>
            <ac:graphicFrameMk id="169" creationId="{00000000-0000-0000-0000-000000000000}"/>
          </ac:graphicFrameMkLst>
        </pc:graphicFrameChg>
        <pc:picChg chg="del">
          <ac:chgData name="Yakov Pakhomov" userId="857a8f7002735771" providerId="LiveId" clId="{77711C24-CE86-4310-83AB-2BFC8187209E}" dt="2018-11-14T09:40:49.333" v="701" actId="478"/>
          <ac:picMkLst>
            <pc:docMk/>
            <pc:sldMk cId="4011990692" sldId="491"/>
            <ac:picMk id="12" creationId="{00000000-0000-0000-0000-000000000000}"/>
          </ac:picMkLst>
        </pc:picChg>
        <pc:cxnChg chg="del">
          <ac:chgData name="Yakov Pakhomov" userId="857a8f7002735771" providerId="LiveId" clId="{77711C24-CE86-4310-83AB-2BFC8187209E}" dt="2018-11-14T09:40:49.333" v="701" actId="478"/>
          <ac:cxnSpMkLst>
            <pc:docMk/>
            <pc:sldMk cId="4011990692" sldId="491"/>
            <ac:cxnSpMk id="11" creationId="{00000000-0000-0000-0000-000000000000}"/>
          </ac:cxnSpMkLst>
        </pc:cxnChg>
      </pc:sldChg>
      <pc:sldChg chg="addSp delSp modSp add del modNotes">
        <pc:chgData name="Yakov Pakhomov" userId="857a8f7002735771" providerId="LiveId" clId="{77711C24-CE86-4310-83AB-2BFC8187209E}" dt="2018-11-15T13:38:46.678" v="26910" actId="2696"/>
        <pc:sldMkLst>
          <pc:docMk/>
          <pc:sldMk cId="1434816462" sldId="492"/>
        </pc:sldMkLst>
        <pc:spChg chg="del">
          <ac:chgData name="Yakov Pakhomov" userId="857a8f7002735771" providerId="LiveId" clId="{77711C24-CE86-4310-83AB-2BFC8187209E}" dt="2018-11-14T09:40:55.973" v="702" actId="478"/>
          <ac:spMkLst>
            <pc:docMk/>
            <pc:sldMk cId="1434816462" sldId="492"/>
            <ac:spMk id="2" creationId="{00000000-0000-0000-0000-000000000000}"/>
          </ac:spMkLst>
        </pc:spChg>
        <pc:spChg chg="add mod ord">
          <ac:chgData name="Yakov Pakhomov" userId="857a8f7002735771" providerId="LiveId" clId="{77711C24-CE86-4310-83AB-2BFC8187209E}" dt="2018-11-14T09:41:08.808" v="749"/>
          <ac:spMkLst>
            <pc:docMk/>
            <pc:sldMk cId="1434816462" sldId="492"/>
            <ac:spMk id="3" creationId="{05958C97-8AA3-4C93-A950-8070C3ED1404}"/>
          </ac:spMkLst>
        </pc:spChg>
        <pc:spChg chg="del">
          <ac:chgData name="Yakov Pakhomov" userId="857a8f7002735771" providerId="LiveId" clId="{77711C24-CE86-4310-83AB-2BFC8187209E}" dt="2018-11-14T09:40:57.652" v="703" actId="478"/>
          <ac:spMkLst>
            <pc:docMk/>
            <pc:sldMk cId="1434816462" sldId="492"/>
            <ac:spMk id="11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08.809" v="751"/>
          <ac:spMkLst>
            <pc:docMk/>
            <pc:sldMk cId="1434816462" sldId="492"/>
            <ac:spMk id="32" creationId="{00000000-0000-0000-0000-000000000000}"/>
          </ac:spMkLst>
        </pc:spChg>
        <pc:spChg chg="del">
          <ac:chgData name="Yakov Pakhomov" userId="857a8f7002735771" providerId="LiveId" clId="{77711C24-CE86-4310-83AB-2BFC8187209E}" dt="2018-11-14T09:40:55.973" v="702" actId="478"/>
          <ac:spMkLst>
            <pc:docMk/>
            <pc:sldMk cId="1434816462" sldId="492"/>
            <ac:spMk id="33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08.809" v="753"/>
          <ac:spMkLst>
            <pc:docMk/>
            <pc:sldMk cId="1434816462" sldId="492"/>
            <ac:spMk id="35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08.810" v="757"/>
          <ac:spMkLst>
            <pc:docMk/>
            <pc:sldMk cId="1434816462" sldId="492"/>
            <ac:spMk id="60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08.812" v="760"/>
          <ac:spMkLst>
            <pc:docMk/>
            <pc:sldMk cId="1434816462" sldId="492"/>
            <ac:spMk id="61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4T09:41:08.810" v="755"/>
          <ac:spMkLst>
            <pc:docMk/>
            <pc:sldMk cId="1434816462" sldId="492"/>
            <ac:spMk id="90" creationId="{00000000-0000-0000-0000-000000000000}"/>
          </ac:spMkLst>
        </pc:spChg>
        <pc:graphicFrameChg chg="add mod ord">
          <ac:chgData name="Yakov Pakhomov" userId="857a8f7002735771" providerId="LiveId" clId="{77711C24-CE86-4310-83AB-2BFC8187209E}" dt="2018-11-14T09:41:08.843" v="774"/>
          <ac:graphicFrameMkLst>
            <pc:docMk/>
            <pc:sldMk cId="1434816462" sldId="492"/>
            <ac:graphicFrameMk id="4" creationId="{463A916B-7E82-449D-8919-B41AA58C0A15}"/>
          </ac:graphicFrameMkLst>
        </pc:graphicFrameChg>
        <pc:graphicFrameChg chg="del">
          <ac:chgData name="Yakov Pakhomov" userId="857a8f7002735771" providerId="LiveId" clId="{77711C24-CE86-4310-83AB-2BFC8187209E}" dt="2018-11-14T09:40:55.973" v="702" actId="478"/>
          <ac:graphicFrameMkLst>
            <pc:docMk/>
            <pc:sldMk cId="1434816462" sldId="492"/>
            <ac:graphicFrameMk id="89" creationId="{00000000-0000-0000-0000-000000000000}"/>
          </ac:graphicFrameMkLst>
        </pc:graphicFrameChg>
        <pc:graphicFrameChg chg="mod">
          <ac:chgData name="Yakov Pakhomov" userId="857a8f7002735771" providerId="LiveId" clId="{77711C24-CE86-4310-83AB-2BFC8187209E}" dt="2018-11-14T09:41:08.811" v="758"/>
          <ac:graphicFrameMkLst>
            <pc:docMk/>
            <pc:sldMk cId="1434816462" sldId="492"/>
            <ac:graphicFrameMk id="92" creationId="{00000000-0000-0000-0000-000000000000}"/>
          </ac:graphicFrameMkLst>
        </pc:graphicFrameChg>
        <pc:picChg chg="del">
          <ac:chgData name="Yakov Pakhomov" userId="857a8f7002735771" providerId="LiveId" clId="{77711C24-CE86-4310-83AB-2BFC8187209E}" dt="2018-11-14T09:41:01.595" v="705" actId="478"/>
          <ac:picMkLst>
            <pc:docMk/>
            <pc:sldMk cId="1434816462" sldId="492"/>
            <ac:picMk id="13" creationId="{00000000-0000-0000-0000-000000000000}"/>
          </ac:picMkLst>
        </pc:picChg>
        <pc:cxnChg chg="del">
          <ac:chgData name="Yakov Pakhomov" userId="857a8f7002735771" providerId="LiveId" clId="{77711C24-CE86-4310-83AB-2BFC8187209E}" dt="2018-11-14T09:41:00.515" v="704" actId="478"/>
          <ac:cxnSpMkLst>
            <pc:docMk/>
            <pc:sldMk cId="1434816462" sldId="492"/>
            <ac:cxnSpMk id="12" creationId="{00000000-0000-0000-0000-000000000000}"/>
          </ac:cxnSpMkLst>
        </pc:cxnChg>
      </pc:sldChg>
      <pc:sldChg chg="addSp delSp modSp add mod">
        <pc:chgData name="Yakov Pakhomov" userId="857a8f7002735771" providerId="LiveId" clId="{77711C24-CE86-4310-83AB-2BFC8187209E}" dt="2018-11-15T13:36:30.083" v="26909" actId="1076"/>
        <pc:sldMkLst>
          <pc:docMk/>
          <pc:sldMk cId="2192163565" sldId="602"/>
        </pc:sldMkLst>
        <pc:spChg chg="add mod ord">
          <ac:chgData name="Yakov Pakhomov" userId="857a8f7002735771" providerId="LiveId" clId="{77711C24-CE86-4310-83AB-2BFC8187209E}" dt="2018-11-15T12:20:47.372" v="26758" actId="6549"/>
          <ac:spMkLst>
            <pc:docMk/>
            <pc:sldMk cId="2192163565" sldId="602"/>
            <ac:spMk id="2" creationId="{945E1ECF-77B3-40DC-A2F2-0967584ECF38}"/>
          </ac:spMkLst>
        </pc:spChg>
        <pc:spChg chg="mod ord">
          <ac:chgData name="Yakov Pakhomov" userId="857a8f7002735771" providerId="LiveId" clId="{77711C24-CE86-4310-83AB-2BFC8187209E}" dt="2018-11-15T12:20:46.804" v="26726" actId="6549"/>
          <ac:spMkLst>
            <pc:docMk/>
            <pc:sldMk cId="2192163565" sldId="602"/>
            <ac:spMk id="4" creationId="{00000000-0000-0000-0000-000000000000}"/>
          </ac:spMkLst>
        </pc:spChg>
        <pc:spChg chg="mod ord">
          <ac:chgData name="Yakov Pakhomov" userId="857a8f7002735771" providerId="LiveId" clId="{77711C24-CE86-4310-83AB-2BFC8187209E}" dt="2018-11-15T13:36:18.842" v="26904" actId="1076"/>
          <ac:spMkLst>
            <pc:docMk/>
            <pc:sldMk cId="2192163565" sldId="602"/>
            <ac:spMk id="5" creationId="{00000000-0000-0000-0000-000000000000}"/>
          </ac:spMkLst>
        </pc:spChg>
        <pc:spChg chg="add mod ord">
          <ac:chgData name="Yakov Pakhomov" userId="857a8f7002735771" providerId="LiveId" clId="{77711C24-CE86-4310-83AB-2BFC8187209E}" dt="2018-11-15T12:20:23.174" v="26445"/>
          <ac:spMkLst>
            <pc:docMk/>
            <pc:sldMk cId="2192163565" sldId="602"/>
            <ac:spMk id="7" creationId="{3E26F3EE-FDD7-4038-82A3-D78053E4CE29}"/>
          </ac:spMkLst>
        </pc:spChg>
        <pc:spChg chg="add mod">
          <ac:chgData name="Yakov Pakhomov" userId="857a8f7002735771" providerId="LiveId" clId="{77711C24-CE86-4310-83AB-2BFC8187209E}" dt="2018-11-15T13:36:30.083" v="26909" actId="1076"/>
          <ac:spMkLst>
            <pc:docMk/>
            <pc:sldMk cId="2192163565" sldId="602"/>
            <ac:spMk id="10" creationId="{D4726B84-846B-4A74-967E-614B1E62CD50}"/>
          </ac:spMkLst>
        </pc:spChg>
        <pc:graphicFrameChg chg="add mod ord">
          <ac:chgData name="Yakov Pakhomov" userId="857a8f7002735771" providerId="LiveId" clId="{77711C24-CE86-4310-83AB-2BFC8187209E}" dt="2018-11-15T12:20:47.378" v="26760"/>
          <ac:graphicFrameMkLst>
            <pc:docMk/>
            <pc:sldMk cId="2192163565" sldId="602"/>
            <ac:graphicFrameMk id="3" creationId="{D39AB9A0-D26C-45E8-81A0-2B32C28267EE}"/>
          </ac:graphicFrameMkLst>
        </pc:graphicFrameChg>
        <pc:graphicFrameChg chg="add mod">
          <ac:chgData name="Yakov Pakhomov" userId="857a8f7002735771" providerId="LiveId" clId="{77711C24-CE86-4310-83AB-2BFC8187209E}" dt="2018-11-15T12:22:09.551" v="26766"/>
          <ac:graphicFrameMkLst>
            <pc:docMk/>
            <pc:sldMk cId="2192163565" sldId="602"/>
            <ac:graphicFrameMk id="6" creationId="{8B9C241B-3F23-447D-8373-CFE4FCB3E50E}"/>
          </ac:graphicFrameMkLst>
        </pc:graphicFrameChg>
        <pc:graphicFrameChg chg="mod">
          <ac:chgData name="Yakov Pakhomov" userId="857a8f7002735771" providerId="LiveId" clId="{77711C24-CE86-4310-83AB-2BFC8187209E}" dt="2018-11-15T12:20:36.975" v="26592" actId="14100"/>
          <ac:graphicFrameMkLst>
            <pc:docMk/>
            <pc:sldMk cId="2192163565" sldId="602"/>
            <ac:graphicFrameMk id="8" creationId="{F2856278-682E-4A4D-92D1-742AD995492E}"/>
          </ac:graphicFrameMkLst>
        </pc:graphicFrameChg>
        <pc:graphicFrameChg chg="del">
          <ac:chgData name="Yakov Pakhomov" userId="857a8f7002735771" providerId="LiveId" clId="{77711C24-CE86-4310-83AB-2BFC8187209E}" dt="2018-11-15T12:19:02.256" v="26352" actId="478"/>
          <ac:graphicFrameMkLst>
            <pc:docMk/>
            <pc:sldMk cId="2192163565" sldId="602"/>
            <ac:graphicFrameMk id="9" creationId="{C62ECD34-55FA-4735-93EA-8A5265A46534}"/>
          </ac:graphicFrameMkLst>
        </pc:graphicFrameChg>
      </pc:sldChg>
      <pc:sldChg chg="addSp delSp modSp ord">
        <pc:chgData name="Yakov Pakhomov" userId="857a8f7002735771" providerId="LiveId" clId="{77711C24-CE86-4310-83AB-2BFC8187209E}" dt="2018-11-15T13:36:05.664" v="26902"/>
        <pc:sldMkLst>
          <pc:docMk/>
          <pc:sldMk cId="1371075556" sldId="666"/>
        </pc:sldMkLst>
        <pc:spChg chg="mod">
          <ac:chgData name="Yakov Pakhomov" userId="857a8f7002735771" providerId="LiveId" clId="{77711C24-CE86-4310-83AB-2BFC8187209E}" dt="2018-11-14T18:29:15.965" v="1545" actId="403"/>
          <ac:spMkLst>
            <pc:docMk/>
            <pc:sldMk cId="1371075556" sldId="666"/>
            <ac:spMk id="5" creationId="{3BE62C44-EFDE-4267-95E2-B2B67E5B7A1C}"/>
          </ac:spMkLst>
        </pc:spChg>
        <pc:spChg chg="mod">
          <ac:chgData name="Yakov Pakhomov" userId="857a8f7002735771" providerId="LiveId" clId="{77711C24-CE86-4310-83AB-2BFC8187209E}" dt="2018-11-14T18:32:08.191" v="1600" actId="20577"/>
          <ac:spMkLst>
            <pc:docMk/>
            <pc:sldMk cId="1371075556" sldId="666"/>
            <ac:spMk id="8" creationId="{22ED6E39-C484-4C2E-AAAC-028D99C01419}"/>
          </ac:spMkLst>
        </pc:spChg>
        <pc:spChg chg="mod">
          <ac:chgData name="Yakov Pakhomov" userId="857a8f7002735771" providerId="LiveId" clId="{77711C24-CE86-4310-83AB-2BFC8187209E}" dt="2018-11-14T18:29:44.694" v="1563" actId="1076"/>
          <ac:spMkLst>
            <pc:docMk/>
            <pc:sldMk cId="1371075556" sldId="666"/>
            <ac:spMk id="9" creationId="{D542315E-66FD-4B88-86DA-CA1B3352F5C9}"/>
          </ac:spMkLst>
        </pc:spChg>
        <pc:spChg chg="mod">
          <ac:chgData name="Yakov Pakhomov" userId="857a8f7002735771" providerId="LiveId" clId="{77711C24-CE86-4310-83AB-2BFC8187209E}" dt="2018-11-14T18:32:36.452" v="1630" actId="1076"/>
          <ac:spMkLst>
            <pc:docMk/>
            <pc:sldMk cId="1371075556" sldId="666"/>
            <ac:spMk id="10" creationId="{4CF3A554-30F7-4A94-BA67-75ACF9156933}"/>
          </ac:spMkLst>
        </pc:spChg>
        <pc:spChg chg="mod">
          <ac:chgData name="Yakov Pakhomov" userId="857a8f7002735771" providerId="LiveId" clId="{77711C24-CE86-4310-83AB-2BFC8187209E}" dt="2018-11-14T18:26:22.177" v="1448" actId="1076"/>
          <ac:spMkLst>
            <pc:docMk/>
            <pc:sldMk cId="1371075556" sldId="666"/>
            <ac:spMk id="46" creationId="{49D43794-349E-4DD3-9028-C3D302317FE6}"/>
          </ac:spMkLst>
        </pc:spChg>
        <pc:spChg chg="mod">
          <ac:chgData name="Yakov Pakhomov" userId="857a8f7002735771" providerId="LiveId" clId="{77711C24-CE86-4310-83AB-2BFC8187209E}" dt="2018-11-14T18:29:16.478" v="1557" actId="6549"/>
          <ac:spMkLst>
            <pc:docMk/>
            <pc:sldMk cId="1371075556" sldId="666"/>
            <ac:spMk id="49" creationId="{F82216C4-ABE1-4A2D-82A6-68AFF130D44D}"/>
          </ac:spMkLst>
        </pc:spChg>
        <pc:spChg chg="add">
          <ac:chgData name="Yakov Pakhomov" userId="857a8f7002735771" providerId="LiveId" clId="{77711C24-CE86-4310-83AB-2BFC8187209E}" dt="2018-11-15T13:36:05.664" v="26902"/>
          <ac:spMkLst>
            <pc:docMk/>
            <pc:sldMk cId="1371075556" sldId="666"/>
            <ac:spMk id="76" creationId="{4D89FD86-AD62-4885-8661-EB6D9334605C}"/>
          </ac:spMkLst>
        </pc:spChg>
        <pc:spChg chg="del">
          <ac:chgData name="Yakov Pakhomov" userId="857a8f7002735771" providerId="LiveId" clId="{77711C24-CE86-4310-83AB-2BFC8187209E}" dt="2018-11-15T13:36:05.273" v="26901" actId="478"/>
          <ac:spMkLst>
            <pc:docMk/>
            <pc:sldMk cId="1371075556" sldId="666"/>
            <ac:spMk id="77" creationId="{8FBB6C59-1EA1-4ECE-A008-DE56D974FE69}"/>
          </ac:spMkLst>
        </pc:spChg>
        <pc:spChg chg="mod">
          <ac:chgData name="Yakov Pakhomov" userId="857a8f7002735771" providerId="LiveId" clId="{77711C24-CE86-4310-83AB-2BFC8187209E}" dt="2018-11-14T18:26:03.114" v="1407" actId="14100"/>
          <ac:spMkLst>
            <pc:docMk/>
            <pc:sldMk cId="1371075556" sldId="666"/>
            <ac:spMk id="91" creationId="{F4C78569-0450-427B-9562-0674FA9CFC75}"/>
          </ac:spMkLst>
        </pc:spChg>
        <pc:spChg chg="mod">
          <ac:chgData name="Yakov Pakhomov" userId="857a8f7002735771" providerId="LiveId" clId="{77711C24-CE86-4310-83AB-2BFC8187209E}" dt="2018-11-14T18:30:03.305" v="1565"/>
          <ac:spMkLst>
            <pc:docMk/>
            <pc:sldMk cId="1371075556" sldId="666"/>
            <ac:spMk id="101" creationId="{55B59379-07A8-4630-BCA7-2C9D723DE47C}"/>
          </ac:spMkLst>
        </pc:spChg>
        <pc:graphicFrameChg chg="mod">
          <ac:chgData name="Yakov Pakhomov" userId="857a8f7002735771" providerId="LiveId" clId="{77711C24-CE86-4310-83AB-2BFC8187209E}" dt="2018-11-14T18:29:16.485" v="1559"/>
          <ac:graphicFrameMkLst>
            <pc:docMk/>
            <pc:sldMk cId="1371075556" sldId="666"/>
            <ac:graphicFrameMk id="6" creationId="{16132C83-6F9F-4D12-BB44-4F22374DE0A9}"/>
          </ac:graphicFrameMkLst>
        </pc:graphicFrameChg>
      </pc:sldChg>
      <pc:sldChg chg="addSp delSp modSp ord">
        <pc:chgData name="Yakov Pakhomov" userId="857a8f7002735771" providerId="LiveId" clId="{77711C24-CE86-4310-83AB-2BFC8187209E}" dt="2018-11-15T14:25:33.016" v="27219" actId="403"/>
        <pc:sldMkLst>
          <pc:docMk/>
          <pc:sldMk cId="661631762" sldId="667"/>
        </pc:sldMkLst>
        <pc:spChg chg="mod">
          <ac:chgData name="Yakov Pakhomov" userId="857a8f7002735771" providerId="LiveId" clId="{77711C24-CE86-4310-83AB-2BFC8187209E}" dt="2018-11-15T14:25:16.604" v="27217" actId="403"/>
          <ac:spMkLst>
            <pc:docMk/>
            <pc:sldMk cId="661631762" sldId="667"/>
            <ac:spMk id="2" creationId="{EB3798CE-4F05-4239-91F0-9C81DB3C3272}"/>
          </ac:spMkLst>
        </pc:spChg>
        <pc:spChg chg="mod">
          <ac:chgData name="Yakov Pakhomov" userId="857a8f7002735771" providerId="LiveId" clId="{77711C24-CE86-4310-83AB-2BFC8187209E}" dt="2018-11-14T20:21:04.481" v="3747" actId="20577"/>
          <ac:spMkLst>
            <pc:docMk/>
            <pc:sldMk cId="661631762" sldId="667"/>
            <ac:spMk id="5" creationId="{3BE62C44-EFDE-4267-95E2-B2B67E5B7A1C}"/>
          </ac:spMkLst>
        </pc:spChg>
        <pc:spChg chg="mod">
          <ac:chgData name="Yakov Pakhomov" userId="857a8f7002735771" providerId="LiveId" clId="{77711C24-CE86-4310-83AB-2BFC8187209E}" dt="2018-11-15T14:25:33.016" v="27219" actId="403"/>
          <ac:spMkLst>
            <pc:docMk/>
            <pc:sldMk cId="661631762" sldId="667"/>
            <ac:spMk id="11" creationId="{72A93149-630B-4D19-9BDA-A02A025282F6}"/>
          </ac:spMkLst>
        </pc:spChg>
        <pc:spChg chg="mod">
          <ac:chgData name="Yakov Pakhomov" userId="857a8f7002735771" providerId="LiveId" clId="{77711C24-CE86-4310-83AB-2BFC8187209E}" dt="2018-11-14T20:21:04.999" v="3753" actId="6549"/>
          <ac:spMkLst>
            <pc:docMk/>
            <pc:sldMk cId="661631762" sldId="667"/>
            <ac:spMk id="17" creationId="{72859110-7514-4131-B96B-D373F3131F3B}"/>
          </ac:spMkLst>
        </pc:spChg>
        <pc:spChg chg="add">
          <ac:chgData name="Yakov Pakhomov" userId="857a8f7002735771" providerId="LiveId" clId="{77711C24-CE86-4310-83AB-2BFC8187209E}" dt="2018-11-14T18:50:03.336" v="2339"/>
          <ac:spMkLst>
            <pc:docMk/>
            <pc:sldMk cId="661631762" sldId="667"/>
            <ac:spMk id="21" creationId="{04D2E320-DBAF-4E27-B6F9-BB7F507279B6}"/>
          </ac:spMkLst>
        </pc:spChg>
        <pc:spChg chg="del">
          <ac:chgData name="Yakov Pakhomov" userId="857a8f7002735771" providerId="LiveId" clId="{77711C24-CE86-4310-83AB-2BFC8187209E}" dt="2018-11-14T18:50:03.009" v="2338" actId="478"/>
          <ac:spMkLst>
            <pc:docMk/>
            <pc:sldMk cId="661631762" sldId="667"/>
            <ac:spMk id="22" creationId="{F8744CC4-6DD6-45C3-AACD-78881BC2E0CB}"/>
          </ac:spMkLst>
        </pc:spChg>
        <pc:spChg chg="add mod">
          <ac:chgData name="Yakov Pakhomov" userId="857a8f7002735771" providerId="LiveId" clId="{77711C24-CE86-4310-83AB-2BFC8187209E}" dt="2018-11-14T18:51:00.477" v="2403" actId="14100"/>
          <ac:spMkLst>
            <pc:docMk/>
            <pc:sldMk cId="661631762" sldId="667"/>
            <ac:spMk id="24" creationId="{DB7FCD11-DD3E-4E07-8007-7D6529DDD6B9}"/>
          </ac:spMkLst>
        </pc:spChg>
        <pc:graphicFrameChg chg="mod">
          <ac:chgData name="Yakov Pakhomov" userId="857a8f7002735771" providerId="LiveId" clId="{77711C24-CE86-4310-83AB-2BFC8187209E}" dt="2018-11-14T20:21:05.006" v="3755"/>
          <ac:graphicFrameMkLst>
            <pc:docMk/>
            <pc:sldMk cId="661631762" sldId="667"/>
            <ac:graphicFrameMk id="6" creationId="{16132C83-6F9F-4D12-BB44-4F22374DE0A9}"/>
          </ac:graphicFrameMkLst>
        </pc:graphicFrameChg>
      </pc:sldChg>
      <pc:sldChg chg="addSp delSp modSp ord">
        <pc:chgData name="Yakov Pakhomov" userId="857a8f7002735771" providerId="LiveId" clId="{77711C24-CE86-4310-83AB-2BFC8187209E}" dt="2018-11-14T18:48:24.493" v="2127"/>
        <pc:sldMkLst>
          <pc:docMk/>
          <pc:sldMk cId="4007503919" sldId="680"/>
        </pc:sldMkLst>
        <pc:spChg chg="mod">
          <ac:chgData name="Yakov Pakhomov" userId="857a8f7002735771" providerId="LiveId" clId="{77711C24-CE86-4310-83AB-2BFC8187209E}" dt="2018-11-14T08:41:54.095" v="42" actId="403"/>
          <ac:spMkLst>
            <pc:docMk/>
            <pc:sldMk cId="4007503919" sldId="680"/>
            <ac:spMk id="2" creationId="{80D135A9-7AD2-4542-92F0-6A34E5271219}"/>
          </ac:spMkLst>
        </pc:spChg>
        <pc:spChg chg="mod">
          <ac:chgData name="Yakov Pakhomov" userId="857a8f7002735771" providerId="LiveId" clId="{77711C24-CE86-4310-83AB-2BFC8187209E}" dt="2018-11-14T09:36:11.812" v="600" actId="27636"/>
          <ac:spMkLst>
            <pc:docMk/>
            <pc:sldMk cId="4007503919" sldId="680"/>
            <ac:spMk id="3" creationId="{624A7D35-F3E2-4866-8FB5-D2252BAF6B6C}"/>
          </ac:spMkLst>
        </pc:spChg>
        <pc:spChg chg="mod">
          <ac:chgData name="Yakov Pakhomov" userId="857a8f7002735771" providerId="LiveId" clId="{77711C24-CE86-4310-83AB-2BFC8187209E}" dt="2018-11-14T09:36:12.333" v="612" actId="6549"/>
          <ac:spMkLst>
            <pc:docMk/>
            <pc:sldMk cId="4007503919" sldId="680"/>
            <ac:spMk id="6" creationId="{4DA318C8-2FE8-448F-B18D-16AE1766E8CB}"/>
          </ac:spMkLst>
        </pc:spChg>
        <pc:graphicFrameChg chg="mod">
          <ac:chgData name="Yakov Pakhomov" userId="857a8f7002735771" providerId="LiveId" clId="{77711C24-CE86-4310-83AB-2BFC8187209E}" dt="2018-11-14T09:36:12.338" v="614"/>
          <ac:graphicFrameMkLst>
            <pc:docMk/>
            <pc:sldMk cId="4007503919" sldId="680"/>
            <ac:graphicFrameMk id="5" creationId="{87BE5D5C-AA4D-40C6-8162-E7132E0C210B}"/>
          </ac:graphicFrameMkLst>
        </pc:graphicFrameChg>
        <pc:picChg chg="add mod">
          <ac:chgData name="Yakov Pakhomov" userId="857a8f7002735771" providerId="LiveId" clId="{77711C24-CE86-4310-83AB-2BFC8187209E}" dt="2018-11-14T08:42:03.127" v="45" actId="1035"/>
          <ac:picMkLst>
            <pc:docMk/>
            <pc:sldMk cId="4007503919" sldId="680"/>
            <ac:picMk id="4" creationId="{D8B48C27-C584-4EC4-B7BC-E20A5449FFC8}"/>
          </ac:picMkLst>
        </pc:picChg>
        <pc:picChg chg="del">
          <ac:chgData name="Yakov Pakhomov" userId="857a8f7002735771" providerId="LiveId" clId="{77711C24-CE86-4310-83AB-2BFC8187209E}" dt="2018-11-14T08:41:33.501" v="34" actId="478"/>
          <ac:picMkLst>
            <pc:docMk/>
            <pc:sldMk cId="4007503919" sldId="680"/>
            <ac:picMk id="7" creationId="{5AED0234-315E-457E-832E-3077F1AF8F77}"/>
          </ac:picMkLst>
        </pc:picChg>
      </pc:sldChg>
      <pc:sldChg chg="addSp delSp modSp">
        <pc:chgData name="Yakov Pakhomov" userId="857a8f7002735771" providerId="LiveId" clId="{77711C24-CE86-4310-83AB-2BFC8187209E}" dt="2018-11-15T11:38:55.570" v="25774" actId="14100"/>
        <pc:sldMkLst>
          <pc:docMk/>
          <pc:sldMk cId="3890577280" sldId="684"/>
        </pc:sldMkLst>
        <pc:spChg chg="del mod">
          <ac:chgData name="Yakov Pakhomov" userId="857a8f7002735771" providerId="LiveId" clId="{77711C24-CE86-4310-83AB-2BFC8187209E}" dt="2018-11-15T11:38:34.983" v="25771" actId="478"/>
          <ac:spMkLst>
            <pc:docMk/>
            <pc:sldMk cId="3890577280" sldId="684"/>
            <ac:spMk id="2" creationId="{0F139171-2126-48EC-9A06-BA71B249CDBA}"/>
          </ac:spMkLst>
        </pc:spChg>
        <pc:spChg chg="del mod">
          <ac:chgData name="Yakov Pakhomov" userId="857a8f7002735771" providerId="LiveId" clId="{77711C24-CE86-4310-83AB-2BFC8187209E}" dt="2018-11-15T11:38:30.224" v="25766" actId="478"/>
          <ac:spMkLst>
            <pc:docMk/>
            <pc:sldMk cId="3890577280" sldId="684"/>
            <ac:spMk id="4" creationId="{0240B8DC-F6A3-4C2B-9B56-79FB9A32CA97}"/>
          </ac:spMkLst>
        </pc:spChg>
        <pc:spChg chg="del mod">
          <ac:chgData name="Yakov Pakhomov" userId="857a8f7002735771" providerId="LiveId" clId="{77711C24-CE86-4310-83AB-2BFC8187209E}" dt="2018-11-15T11:38:32.015" v="25769" actId="478"/>
          <ac:spMkLst>
            <pc:docMk/>
            <pc:sldMk cId="3890577280" sldId="684"/>
            <ac:spMk id="6" creationId="{3D888754-C9A7-4543-9DB9-3440E0A73B52}"/>
          </ac:spMkLst>
        </pc:spChg>
        <pc:spChg chg="mod">
          <ac:chgData name="Yakov Pakhomov" userId="857a8f7002735771" providerId="LiveId" clId="{77711C24-CE86-4310-83AB-2BFC8187209E}" dt="2018-11-15T11:38:08.222" v="25735" actId="6549"/>
          <ac:spMkLst>
            <pc:docMk/>
            <pc:sldMk cId="3890577280" sldId="684"/>
            <ac:spMk id="7" creationId="{A1AD0771-FBC7-420D-8E6B-AC06E86651D9}"/>
          </ac:spMkLst>
        </pc:spChg>
        <pc:spChg chg="add del mod">
          <ac:chgData name="Yakov Pakhomov" userId="857a8f7002735771" providerId="LiveId" clId="{77711C24-CE86-4310-83AB-2BFC8187209E}" dt="2018-11-15T11:38:10.689" v="25738" actId="478"/>
          <ac:spMkLst>
            <pc:docMk/>
            <pc:sldMk cId="3890577280" sldId="684"/>
            <ac:spMk id="8" creationId="{1995536B-C4E9-4A5B-9A13-F6EAE4539BD2}"/>
          </ac:spMkLst>
        </pc:spChg>
        <pc:spChg chg="add mod">
          <ac:chgData name="Yakov Pakhomov" userId="857a8f7002735771" providerId="LiveId" clId="{77711C24-CE86-4310-83AB-2BFC8187209E}" dt="2018-11-15T11:38:07.684" v="25706"/>
          <ac:spMkLst>
            <pc:docMk/>
            <pc:sldMk cId="3890577280" sldId="684"/>
            <ac:spMk id="9" creationId="{3178D8A0-E8A8-4B27-A4A9-31823B68B49D}"/>
          </ac:spMkLst>
        </pc:spChg>
        <pc:spChg chg="add mod">
          <ac:chgData name="Yakov Pakhomov" userId="857a8f7002735771" providerId="LiveId" clId="{77711C24-CE86-4310-83AB-2BFC8187209E}" dt="2018-11-15T11:38:25.977" v="25765" actId="20577"/>
          <ac:spMkLst>
            <pc:docMk/>
            <pc:sldMk cId="3890577280" sldId="684"/>
            <ac:spMk id="10" creationId="{6094BAD2-6900-4FFF-9667-ABB5F5B4AB8C}"/>
          </ac:spMkLst>
        </pc:spChg>
        <pc:grpChg chg="del">
          <ac:chgData name="Yakov Pakhomov" userId="857a8f7002735771" providerId="LiveId" clId="{77711C24-CE86-4310-83AB-2BFC8187209E}" dt="2018-11-15T11:38:33.008" v="25770" actId="478"/>
          <ac:grpSpMkLst>
            <pc:docMk/>
            <pc:sldMk cId="3890577280" sldId="684"/>
            <ac:grpSpMk id="12" creationId="{B13B30C7-C3E9-43CF-8F1F-73CEA8A5A636}"/>
          </ac:grpSpMkLst>
        </pc:grpChg>
        <pc:graphicFrameChg chg="mod">
          <ac:chgData name="Yakov Pakhomov" userId="857a8f7002735771" providerId="LiveId" clId="{77711C24-CE86-4310-83AB-2BFC8187209E}" dt="2018-11-15T11:38:30.727" v="25768"/>
          <ac:graphicFrameMkLst>
            <pc:docMk/>
            <pc:sldMk cId="3890577280" sldId="684"/>
            <ac:graphicFrameMk id="5" creationId="{1B1E6472-55F1-412A-8A27-30A466CA6E20}"/>
          </ac:graphicFrameMkLst>
        </pc:graphicFrameChg>
        <pc:graphicFrameChg chg="add mod">
          <ac:chgData name="Yakov Pakhomov" userId="857a8f7002735771" providerId="LiveId" clId="{77711C24-CE86-4310-83AB-2BFC8187209E}" dt="2018-11-15T11:38:55.570" v="25774" actId="14100"/>
          <ac:graphicFrameMkLst>
            <pc:docMk/>
            <pc:sldMk cId="3890577280" sldId="684"/>
            <ac:graphicFrameMk id="11" creationId="{3B456A21-1161-4E2D-B134-969F2FC353F6}"/>
          </ac:graphicFrameMkLst>
        </pc:graphicFrameChg>
      </pc:sldChg>
      <pc:sldChg chg="addSp delSp modSp add mod">
        <pc:chgData name="Yakov Pakhomov" userId="857a8f7002735771" providerId="LiveId" clId="{77711C24-CE86-4310-83AB-2BFC8187209E}" dt="2018-11-15T12:16:51.429" v="26219"/>
        <pc:sldMkLst>
          <pc:docMk/>
          <pc:sldMk cId="871630666" sldId="685"/>
        </pc:sldMkLst>
        <pc:spChg chg="del">
          <ac:chgData name="Yakov Pakhomov" userId="857a8f7002735771" providerId="LiveId" clId="{77711C24-CE86-4310-83AB-2BFC8187209E}" dt="2018-11-14T08:42:34.886" v="47"/>
          <ac:spMkLst>
            <pc:docMk/>
            <pc:sldMk cId="871630666" sldId="685"/>
            <ac:spMk id="2" creationId="{0C7C64D7-6931-466B-8730-C954A4DD87F3}"/>
          </ac:spMkLst>
        </pc:spChg>
        <pc:spChg chg="del">
          <ac:chgData name="Yakov Pakhomov" userId="857a8f7002735771" providerId="LiveId" clId="{77711C24-CE86-4310-83AB-2BFC8187209E}" dt="2018-11-14T08:42:34.886" v="47"/>
          <ac:spMkLst>
            <pc:docMk/>
            <pc:sldMk cId="871630666" sldId="685"/>
            <ac:spMk id="3" creationId="{2003FE73-A1AC-46C2-A471-F015C6DA5B15}"/>
          </ac:spMkLst>
        </pc:spChg>
        <pc:spChg chg="add mod ord">
          <ac:chgData name="Yakov Pakhomov" userId="857a8f7002735771" providerId="LiveId" clId="{77711C24-CE86-4310-83AB-2BFC8187209E}" dt="2018-11-14T09:36:20.109" v="656" actId="20577"/>
          <ac:spMkLst>
            <pc:docMk/>
            <pc:sldMk cId="871630666" sldId="685"/>
            <ac:spMk id="4" creationId="{A1B34355-66E5-4ED9-84D9-063B1DB58FC8}"/>
          </ac:spMkLst>
        </pc:spChg>
        <pc:spChg chg="add del">
          <ac:chgData name="Yakov Pakhomov" userId="857a8f7002735771" providerId="LiveId" clId="{77711C24-CE86-4310-83AB-2BFC8187209E}" dt="2018-11-14T08:42:41.265" v="72"/>
          <ac:spMkLst>
            <pc:docMk/>
            <pc:sldMk cId="871630666" sldId="685"/>
            <ac:spMk id="6" creationId="{425F1E2B-FADE-448F-AEAF-51269F2518BA}"/>
          </ac:spMkLst>
        </pc:spChg>
        <pc:spChg chg="add mod ord">
          <ac:chgData name="Yakov Pakhomov" userId="857a8f7002735771" providerId="LiveId" clId="{77711C24-CE86-4310-83AB-2BFC8187209E}" dt="2018-11-14T09:36:20.643" v="662" actId="6549"/>
          <ac:spMkLst>
            <pc:docMk/>
            <pc:sldMk cId="871630666" sldId="685"/>
            <ac:spMk id="7" creationId="{D694981E-5870-47D9-81E4-B7718BDC8A5A}"/>
          </ac:spMkLst>
        </pc:spChg>
        <pc:spChg chg="add mod">
          <ac:chgData name="Yakov Pakhomov" userId="857a8f7002735771" providerId="LiveId" clId="{77711C24-CE86-4310-83AB-2BFC8187209E}" dt="2018-11-14T18:39:01.341" v="1932" actId="1076"/>
          <ac:spMkLst>
            <pc:docMk/>
            <pc:sldMk cId="871630666" sldId="685"/>
            <ac:spMk id="9" creationId="{BA0E3384-9EB5-4EBC-AFFF-8BE6C2C43030}"/>
          </ac:spMkLst>
        </pc:spChg>
        <pc:spChg chg="add del">
          <ac:chgData name="Yakov Pakhomov" userId="857a8f7002735771" providerId="LiveId" clId="{77711C24-CE86-4310-83AB-2BFC8187209E}" dt="2018-11-14T08:48:42.614" v="155"/>
          <ac:spMkLst>
            <pc:docMk/>
            <pc:sldMk cId="871630666" sldId="685"/>
            <ac:spMk id="11" creationId="{65FBD439-845B-442A-AFB7-5D4B68010D03}"/>
          </ac:spMkLst>
        </pc:spChg>
        <pc:spChg chg="add mod">
          <ac:chgData name="Yakov Pakhomov" userId="857a8f7002735771" providerId="LiveId" clId="{77711C24-CE86-4310-83AB-2BFC8187209E}" dt="2018-11-14T18:38:01.445" v="1878" actId="1076"/>
          <ac:spMkLst>
            <pc:docMk/>
            <pc:sldMk cId="871630666" sldId="685"/>
            <ac:spMk id="12" creationId="{F7D46D76-06FC-4F13-9C8C-A7FC918F4F2A}"/>
          </ac:spMkLst>
        </pc:spChg>
        <pc:spChg chg="add del">
          <ac:chgData name="Yakov Pakhomov" userId="857a8f7002735771" providerId="LiveId" clId="{77711C24-CE86-4310-83AB-2BFC8187209E}" dt="2018-11-14T08:49:57.030" v="175"/>
          <ac:spMkLst>
            <pc:docMk/>
            <pc:sldMk cId="871630666" sldId="685"/>
            <ac:spMk id="13" creationId="{6CC256AB-9573-4C2A-90C9-5A25569CDB65}"/>
          </ac:spMkLst>
        </pc:spChg>
        <pc:spChg chg="add mod">
          <ac:chgData name="Yakov Pakhomov" userId="857a8f7002735771" providerId="LiveId" clId="{77711C24-CE86-4310-83AB-2BFC8187209E}" dt="2018-11-14T18:39:25.659" v="1936" actId="1076"/>
          <ac:spMkLst>
            <pc:docMk/>
            <pc:sldMk cId="871630666" sldId="685"/>
            <ac:spMk id="14" creationId="{1981805E-BA32-43F9-8F02-36083932271A}"/>
          </ac:spMkLst>
        </pc:spChg>
        <pc:spChg chg="add del">
          <ac:chgData name="Yakov Pakhomov" userId="857a8f7002735771" providerId="LiveId" clId="{77711C24-CE86-4310-83AB-2BFC8187209E}" dt="2018-11-14T09:34:37.554" v="582"/>
          <ac:spMkLst>
            <pc:docMk/>
            <pc:sldMk cId="871630666" sldId="685"/>
            <ac:spMk id="18" creationId="{0A6389DE-0F04-473B-830D-A60C710F4B44}"/>
          </ac:spMkLst>
        </pc:spChg>
        <pc:spChg chg="add mod">
          <ac:chgData name="Yakov Pakhomov" userId="857a8f7002735771" providerId="LiveId" clId="{77711C24-CE86-4310-83AB-2BFC8187209E}" dt="2018-11-14T18:40:05.947" v="1967" actId="20577"/>
          <ac:spMkLst>
            <pc:docMk/>
            <pc:sldMk cId="871630666" sldId="685"/>
            <ac:spMk id="19" creationId="{A25F1CE1-D162-476B-AC87-7C1CE4547863}"/>
          </ac:spMkLst>
        </pc:spChg>
        <pc:spChg chg="add del">
          <ac:chgData name="Yakov Pakhomov" userId="857a8f7002735771" providerId="LiveId" clId="{77711C24-CE86-4310-83AB-2BFC8187209E}" dt="2018-11-14T09:35:12.772" v="592"/>
          <ac:spMkLst>
            <pc:docMk/>
            <pc:sldMk cId="871630666" sldId="685"/>
            <ac:spMk id="20" creationId="{C12FE006-88BB-4F95-883D-3EEDD25792F4}"/>
          </ac:spMkLst>
        </pc:spChg>
        <pc:spChg chg="add mod">
          <ac:chgData name="Yakov Pakhomov" userId="857a8f7002735771" providerId="LiveId" clId="{77711C24-CE86-4310-83AB-2BFC8187209E}" dt="2018-11-15T12:16:45.892" v="26217" actId="1076"/>
          <ac:spMkLst>
            <pc:docMk/>
            <pc:sldMk cId="871630666" sldId="685"/>
            <ac:spMk id="21" creationId="{22731369-5265-446A-BBB2-B32488B9AE46}"/>
          </ac:spMkLst>
        </pc:spChg>
        <pc:spChg chg="add del">
          <ac:chgData name="Yakov Pakhomov" userId="857a8f7002735771" providerId="LiveId" clId="{77711C24-CE86-4310-83AB-2BFC8187209E}" dt="2018-11-14T18:38:18.591" v="1880"/>
          <ac:spMkLst>
            <pc:docMk/>
            <pc:sldMk cId="871630666" sldId="685"/>
            <ac:spMk id="22" creationId="{47F47825-24CB-4268-8891-F162A0AA1EEC}"/>
          </ac:spMkLst>
        </pc:spChg>
        <pc:spChg chg="add del">
          <ac:chgData name="Yakov Pakhomov" userId="857a8f7002735771" providerId="LiveId" clId="{77711C24-CE86-4310-83AB-2BFC8187209E}" dt="2018-11-14T18:38:23.969" v="1882"/>
          <ac:spMkLst>
            <pc:docMk/>
            <pc:sldMk cId="871630666" sldId="685"/>
            <ac:spMk id="23" creationId="{8833AD11-1592-46B2-95F9-411F3D71D6DE}"/>
          </ac:spMkLst>
        </pc:spChg>
        <pc:spChg chg="add del">
          <ac:chgData name="Yakov Pakhomov" userId="857a8f7002735771" providerId="LiveId" clId="{77711C24-CE86-4310-83AB-2BFC8187209E}" dt="2018-11-14T18:38:30.142" v="1884"/>
          <ac:spMkLst>
            <pc:docMk/>
            <pc:sldMk cId="871630666" sldId="685"/>
            <ac:spMk id="24" creationId="{B18B7D67-39D2-4D94-8F22-4D609C758A65}"/>
          </ac:spMkLst>
        </pc:spChg>
        <pc:spChg chg="add mod">
          <ac:chgData name="Yakov Pakhomov" userId="857a8f7002735771" providerId="LiveId" clId="{77711C24-CE86-4310-83AB-2BFC8187209E}" dt="2018-11-14T18:38:48.807" v="1927" actId="1076"/>
          <ac:spMkLst>
            <pc:docMk/>
            <pc:sldMk cId="871630666" sldId="685"/>
            <ac:spMk id="25" creationId="{7297086B-3E47-4EAC-B824-58402EBE691C}"/>
          </ac:spMkLst>
        </pc:spChg>
        <pc:spChg chg="add mod">
          <ac:chgData name="Yakov Pakhomov" userId="857a8f7002735771" providerId="LiveId" clId="{77711C24-CE86-4310-83AB-2BFC8187209E}" dt="2018-11-14T18:40:35.836" v="1975" actId="208"/>
          <ac:spMkLst>
            <pc:docMk/>
            <pc:sldMk cId="871630666" sldId="685"/>
            <ac:spMk id="26" creationId="{6F0590DA-674E-4CFF-AC9B-1526B64852B2}"/>
          </ac:spMkLst>
        </pc:spChg>
        <pc:graphicFrameChg chg="add mod ord">
          <ac:chgData name="Yakov Pakhomov" userId="857a8f7002735771" providerId="LiveId" clId="{77711C24-CE86-4310-83AB-2BFC8187209E}" dt="2018-11-14T09:36:20.649" v="664"/>
          <ac:graphicFrameMkLst>
            <pc:docMk/>
            <pc:sldMk cId="871630666" sldId="685"/>
            <ac:graphicFrameMk id="5" creationId="{BED4C92E-0FA6-4563-A75F-872CA5A9551F}"/>
          </ac:graphicFrameMkLst>
        </pc:graphicFrameChg>
        <pc:graphicFrameChg chg="add del mod">
          <ac:chgData name="Yakov Pakhomov" userId="857a8f7002735771" providerId="LiveId" clId="{77711C24-CE86-4310-83AB-2BFC8187209E}" dt="2018-11-14T09:30:16.182" v="565" actId="478"/>
          <ac:graphicFrameMkLst>
            <pc:docMk/>
            <pc:sldMk cId="871630666" sldId="685"/>
            <ac:graphicFrameMk id="15" creationId="{40AF48A8-8F7F-4A65-8E09-F71862F0014A}"/>
          </ac:graphicFrameMkLst>
        </pc:graphicFrameChg>
        <pc:graphicFrameChg chg="add">
          <ac:chgData name="Yakov Pakhomov" userId="857a8f7002735771" providerId="LiveId" clId="{77711C24-CE86-4310-83AB-2BFC8187209E}" dt="2018-11-14T09:30:03.475" v="564"/>
          <ac:graphicFrameMkLst>
            <pc:docMk/>
            <pc:sldMk cId="871630666" sldId="685"/>
            <ac:graphicFrameMk id="16" creationId="{40AF48A8-8F7F-4A65-8E09-F71862F0014A}"/>
          </ac:graphicFrameMkLst>
        </pc:graphicFrameChg>
        <pc:graphicFrameChg chg="add mod">
          <ac:chgData name="Yakov Pakhomov" userId="857a8f7002735771" providerId="LiveId" clId="{77711C24-CE86-4310-83AB-2BFC8187209E}" dt="2018-11-14T18:39:15.727" v="1933" actId="14100"/>
          <ac:graphicFrameMkLst>
            <pc:docMk/>
            <pc:sldMk cId="871630666" sldId="685"/>
            <ac:graphicFrameMk id="17" creationId="{40AF48A8-8F7F-4A65-8E09-F71862F0014A}"/>
          </ac:graphicFrameMkLst>
        </pc:graphicFrameChg>
        <pc:graphicFrameChg chg="add mod">
          <ac:chgData name="Yakov Pakhomov" userId="857a8f7002735771" providerId="LiveId" clId="{77711C24-CE86-4310-83AB-2BFC8187209E}" dt="2018-11-15T12:16:51.429" v="26219"/>
          <ac:graphicFrameMkLst>
            <pc:docMk/>
            <pc:sldMk cId="871630666" sldId="685"/>
            <ac:graphicFrameMk id="27" creationId="{30B91D41-CFFF-4172-A3CD-9322B6EE4C65}"/>
          </ac:graphicFrameMkLst>
        </pc:graphicFrameChg>
        <pc:picChg chg="add del mod">
          <ac:chgData name="Yakov Pakhomov" userId="857a8f7002735771" providerId="LiveId" clId="{77711C24-CE86-4310-83AB-2BFC8187209E}" dt="2018-11-14T09:30:49.742" v="569" actId="478"/>
          <ac:picMkLst>
            <pc:docMk/>
            <pc:sldMk cId="871630666" sldId="685"/>
            <ac:picMk id="8" creationId="{16B10818-5698-43BD-B4C5-966EB73D9FAB}"/>
          </ac:picMkLst>
        </pc:picChg>
        <pc:picChg chg="add del mod">
          <ac:chgData name="Yakov Pakhomov" userId="857a8f7002735771" providerId="LiveId" clId="{77711C24-CE86-4310-83AB-2BFC8187209E}" dt="2018-11-15T12:16:16.554" v="26206" actId="478"/>
          <ac:picMkLst>
            <pc:docMk/>
            <pc:sldMk cId="871630666" sldId="685"/>
            <ac:picMk id="10" creationId="{0A000C96-310C-42AD-A6AF-E11CCBB92F13}"/>
          </ac:picMkLst>
        </pc:picChg>
      </pc:sldChg>
      <pc:sldChg chg="addSp delSp modSp add">
        <pc:chgData name="Yakov Pakhomov" userId="857a8f7002735771" providerId="LiveId" clId="{77711C24-CE86-4310-83AB-2BFC8187209E}" dt="2018-11-15T14:26:43.421" v="27224" actId="1076"/>
        <pc:sldMkLst>
          <pc:docMk/>
          <pc:sldMk cId="1053132706" sldId="687"/>
        </pc:sldMkLst>
        <pc:spChg chg="mod">
          <ac:chgData name="Yakov Pakhomov" userId="857a8f7002735771" providerId="LiveId" clId="{77711C24-CE86-4310-83AB-2BFC8187209E}" dt="2018-11-14T18:56:30.443" v="2494" actId="113"/>
          <ac:spMkLst>
            <pc:docMk/>
            <pc:sldMk cId="1053132706" sldId="687"/>
            <ac:spMk id="4" creationId="{A1B34355-66E5-4ED9-84D9-063B1DB58FC8}"/>
          </ac:spMkLst>
        </pc:spChg>
        <pc:spChg chg="add del">
          <ac:chgData name="Yakov Pakhomov" userId="857a8f7002735771" providerId="LiveId" clId="{77711C24-CE86-4310-83AB-2BFC8187209E}" dt="2018-11-14T08:51:46.290" v="195"/>
          <ac:spMkLst>
            <pc:docMk/>
            <pc:sldMk cId="1053132706" sldId="687"/>
            <ac:spMk id="6" creationId="{61280248-A5E6-47EF-8446-7234935F04BF}"/>
          </ac:spMkLst>
        </pc:spChg>
        <pc:spChg chg="mod">
          <ac:chgData name="Yakov Pakhomov" userId="857a8f7002735771" providerId="LiveId" clId="{77711C24-CE86-4310-83AB-2BFC8187209E}" dt="2018-11-14T18:56:30.443" v="2493" actId="790"/>
          <ac:spMkLst>
            <pc:docMk/>
            <pc:sldMk cId="1053132706" sldId="687"/>
            <ac:spMk id="7" creationId="{D694981E-5870-47D9-81E4-B7718BDC8A5A}"/>
          </ac:spMkLst>
        </pc:spChg>
        <pc:spChg chg="mod">
          <ac:chgData name="Yakov Pakhomov" userId="857a8f7002735771" providerId="LiveId" clId="{77711C24-CE86-4310-83AB-2BFC8187209E}" dt="2018-11-14T18:33:41.805" v="1648" actId="20577"/>
          <ac:spMkLst>
            <pc:docMk/>
            <pc:sldMk cId="1053132706" sldId="687"/>
            <ac:spMk id="9" creationId="{BA0E3384-9EB5-4EBC-AFFF-8BE6C2C43030}"/>
          </ac:spMkLst>
        </pc:spChg>
        <pc:spChg chg="add mod">
          <ac:chgData name="Yakov Pakhomov" userId="857a8f7002735771" providerId="LiveId" clId="{77711C24-CE86-4310-83AB-2BFC8187209E}" dt="2018-11-14T18:20:05.790" v="1357" actId="1076"/>
          <ac:spMkLst>
            <pc:docMk/>
            <pc:sldMk cId="1053132706" sldId="687"/>
            <ac:spMk id="11" creationId="{5B23C0AD-78A6-42D1-B6E3-FFC0826CDF33}"/>
          </ac:spMkLst>
        </pc:spChg>
        <pc:spChg chg="del">
          <ac:chgData name="Yakov Pakhomov" userId="857a8f7002735771" providerId="LiveId" clId="{77711C24-CE86-4310-83AB-2BFC8187209E}" dt="2018-11-14T08:50:49.177" v="186" actId="478"/>
          <ac:spMkLst>
            <pc:docMk/>
            <pc:sldMk cId="1053132706" sldId="687"/>
            <ac:spMk id="12" creationId="{F7D46D76-06FC-4F13-9C8C-A7FC918F4F2A}"/>
          </ac:spMkLst>
        </pc:spChg>
        <pc:spChg chg="add mod">
          <ac:chgData name="Yakov Pakhomov" userId="857a8f7002735771" providerId="LiveId" clId="{77711C24-CE86-4310-83AB-2BFC8187209E}" dt="2018-11-14T18:45:31.603" v="2039" actId="20577"/>
          <ac:spMkLst>
            <pc:docMk/>
            <pc:sldMk cId="1053132706" sldId="687"/>
            <ac:spMk id="13" creationId="{4F787A00-ED2F-4608-AB2C-066C63CE0E3D}"/>
          </ac:spMkLst>
        </pc:spChg>
        <pc:spChg chg="del">
          <ac:chgData name="Yakov Pakhomov" userId="857a8f7002735771" providerId="LiveId" clId="{77711C24-CE86-4310-83AB-2BFC8187209E}" dt="2018-11-14T08:50:49.177" v="186" actId="478"/>
          <ac:spMkLst>
            <pc:docMk/>
            <pc:sldMk cId="1053132706" sldId="687"/>
            <ac:spMk id="14" creationId="{1981805E-BA32-43F9-8F02-36083932271A}"/>
          </ac:spMkLst>
        </pc:spChg>
        <pc:spChg chg="add del">
          <ac:chgData name="Yakov Pakhomov" userId="857a8f7002735771" providerId="LiveId" clId="{77711C24-CE86-4310-83AB-2BFC8187209E}" dt="2018-11-14T08:52:29.761" v="213"/>
          <ac:spMkLst>
            <pc:docMk/>
            <pc:sldMk cId="1053132706" sldId="687"/>
            <ac:spMk id="15" creationId="{0F75DDB7-E614-4354-989E-89C282118B3C}"/>
          </ac:spMkLst>
        </pc:spChg>
        <pc:spChg chg="add mod">
          <ac:chgData name="Yakov Pakhomov" userId="857a8f7002735771" providerId="LiveId" clId="{77711C24-CE86-4310-83AB-2BFC8187209E}" dt="2018-11-14T18:21:12.631" v="1398" actId="1076"/>
          <ac:spMkLst>
            <pc:docMk/>
            <pc:sldMk cId="1053132706" sldId="687"/>
            <ac:spMk id="16" creationId="{EABCB6E8-D7ED-45AB-919B-E41F71D16858}"/>
          </ac:spMkLst>
        </pc:spChg>
        <pc:spChg chg="add del">
          <ac:chgData name="Yakov Pakhomov" userId="857a8f7002735771" providerId="LiveId" clId="{77711C24-CE86-4310-83AB-2BFC8187209E}" dt="2018-11-14T18:43:31.041" v="1983"/>
          <ac:spMkLst>
            <pc:docMk/>
            <pc:sldMk cId="1053132706" sldId="687"/>
            <ac:spMk id="17" creationId="{9F8A8814-DA64-4472-AB9A-D1D70014A7EC}"/>
          </ac:spMkLst>
        </pc:spChg>
        <pc:spChg chg="add mod">
          <ac:chgData name="Yakov Pakhomov" userId="857a8f7002735771" providerId="LiveId" clId="{77711C24-CE86-4310-83AB-2BFC8187209E}" dt="2018-11-15T14:26:32.364" v="27221" actId="1076"/>
          <ac:spMkLst>
            <pc:docMk/>
            <pc:sldMk cId="1053132706" sldId="687"/>
            <ac:spMk id="18" creationId="{A57B769F-C539-4F83-BE0D-5D13269559DD}"/>
          </ac:spMkLst>
        </pc:spChg>
        <pc:spChg chg="add mod">
          <ac:chgData name="Yakov Pakhomov" userId="857a8f7002735771" providerId="LiveId" clId="{77711C24-CE86-4310-83AB-2BFC8187209E}" dt="2018-11-14T18:44:19.275" v="2027" actId="1076"/>
          <ac:spMkLst>
            <pc:docMk/>
            <pc:sldMk cId="1053132706" sldId="687"/>
            <ac:spMk id="19" creationId="{6A89F09B-5BD8-4C01-B40C-70DAC633601F}"/>
          </ac:spMkLst>
        </pc:spChg>
        <pc:spChg chg="add mod">
          <ac:chgData name="Yakov Pakhomov" userId="857a8f7002735771" providerId="LiveId" clId="{77711C24-CE86-4310-83AB-2BFC8187209E}" dt="2018-11-15T14:26:36.989" v="27222" actId="20577"/>
          <ac:spMkLst>
            <pc:docMk/>
            <pc:sldMk cId="1053132706" sldId="687"/>
            <ac:spMk id="20" creationId="{606DB1B0-E58B-4593-8BFC-AF7F723FE19A}"/>
          </ac:spMkLst>
        </pc:spChg>
        <pc:spChg chg="add mod">
          <ac:chgData name="Yakov Pakhomov" userId="857a8f7002735771" providerId="LiveId" clId="{77711C24-CE86-4310-83AB-2BFC8187209E}" dt="2018-11-15T14:26:43.421" v="27224" actId="1076"/>
          <ac:spMkLst>
            <pc:docMk/>
            <pc:sldMk cId="1053132706" sldId="687"/>
            <ac:spMk id="21" creationId="{CCD3E65A-EC2E-4B10-BA38-34AD1BAE5FAA}"/>
          </ac:spMkLst>
        </pc:spChg>
        <pc:graphicFrameChg chg="mod">
          <ac:chgData name="Yakov Pakhomov" userId="857a8f7002735771" providerId="LiveId" clId="{77711C24-CE86-4310-83AB-2BFC8187209E}" dt="2018-11-14T18:56:30.470" v="2496"/>
          <ac:graphicFrameMkLst>
            <pc:docMk/>
            <pc:sldMk cId="1053132706" sldId="687"/>
            <ac:graphicFrameMk id="5" creationId="{BED4C92E-0FA6-4563-A75F-872CA5A9551F}"/>
          </ac:graphicFrameMkLst>
        </pc:graphicFrameChg>
        <pc:picChg chg="add mod">
          <ac:chgData name="Yakov Pakhomov" userId="857a8f7002735771" providerId="LiveId" clId="{77711C24-CE86-4310-83AB-2BFC8187209E}" dt="2018-11-14T08:50:53.190" v="189" actId="14100"/>
          <ac:picMkLst>
            <pc:docMk/>
            <pc:sldMk cId="1053132706" sldId="687"/>
            <ac:picMk id="2" creationId="{90F48733-73FB-47B6-B2EF-8929F158138A}"/>
          </ac:picMkLst>
        </pc:picChg>
        <pc:picChg chg="add mod">
          <ac:chgData name="Yakov Pakhomov" userId="857a8f7002735771" providerId="LiveId" clId="{77711C24-CE86-4310-83AB-2BFC8187209E}" dt="2018-11-14T08:51:11.059" v="193" actId="1076"/>
          <ac:picMkLst>
            <pc:docMk/>
            <pc:sldMk cId="1053132706" sldId="687"/>
            <ac:picMk id="3" creationId="{C67CA920-B541-4459-BABA-EE6C94976319}"/>
          </ac:picMkLst>
        </pc:picChg>
        <pc:picChg chg="del">
          <ac:chgData name="Yakov Pakhomov" userId="857a8f7002735771" providerId="LiveId" clId="{77711C24-CE86-4310-83AB-2BFC8187209E}" dt="2018-11-14T08:50:46.202" v="185" actId="478"/>
          <ac:picMkLst>
            <pc:docMk/>
            <pc:sldMk cId="1053132706" sldId="687"/>
            <ac:picMk id="8" creationId="{16B10818-5698-43BD-B4C5-966EB73D9FAB}"/>
          </ac:picMkLst>
        </pc:picChg>
        <pc:picChg chg="del">
          <ac:chgData name="Yakov Pakhomov" userId="857a8f7002735771" providerId="LiveId" clId="{77711C24-CE86-4310-83AB-2BFC8187209E}" dt="2018-11-14T08:50:46.202" v="185" actId="478"/>
          <ac:picMkLst>
            <pc:docMk/>
            <pc:sldMk cId="1053132706" sldId="687"/>
            <ac:picMk id="10" creationId="{0A000C96-310C-42AD-A6AF-E11CCBB92F13}"/>
          </ac:picMkLst>
        </pc:picChg>
      </pc:sldChg>
      <pc:sldChg chg="addSp delSp modSp add">
        <pc:chgData name="Yakov Pakhomov" userId="857a8f7002735771" providerId="LiveId" clId="{77711C24-CE86-4310-83AB-2BFC8187209E}" dt="2018-11-15T14:32:16.343" v="27505" actId="1076"/>
        <pc:sldMkLst>
          <pc:docMk/>
          <pc:sldMk cId="2643373305" sldId="688"/>
        </pc:sldMkLst>
        <pc:spChg chg="mod ord">
          <ac:chgData name="Yakov Pakhomov" userId="857a8f7002735771" providerId="LiveId" clId="{77711C24-CE86-4310-83AB-2BFC8187209E}" dt="2018-11-15T14:30:55.492" v="27450"/>
          <ac:spMkLst>
            <pc:docMk/>
            <pc:sldMk cId="2643373305" sldId="688"/>
            <ac:spMk id="4" creationId="{A1B34355-66E5-4ED9-84D9-063B1DB58FC8}"/>
          </ac:spMkLst>
        </pc:spChg>
        <pc:spChg chg="add del">
          <ac:chgData name="Yakov Pakhomov" userId="857a8f7002735771" providerId="LiveId" clId="{77711C24-CE86-4310-83AB-2BFC8187209E}" dt="2018-11-14T08:54:23.340" v="339"/>
          <ac:spMkLst>
            <pc:docMk/>
            <pc:sldMk cId="2643373305" sldId="688"/>
            <ac:spMk id="6" creationId="{75CA0F2B-D793-4961-A2EC-F669B09F35C0}"/>
          </ac:spMkLst>
        </pc:spChg>
        <pc:spChg chg="mod ord">
          <ac:chgData name="Yakov Pakhomov" userId="857a8f7002735771" providerId="LiveId" clId="{77711C24-CE86-4310-83AB-2BFC8187209E}" dt="2018-11-15T14:30:55.491" v="27446"/>
          <ac:spMkLst>
            <pc:docMk/>
            <pc:sldMk cId="2643373305" sldId="688"/>
            <ac:spMk id="7" creationId="{D694981E-5870-47D9-81E4-B7718BDC8A5A}"/>
          </ac:spMkLst>
        </pc:spChg>
        <pc:spChg chg="add del mod">
          <ac:chgData name="Yakov Pakhomov" userId="857a8f7002735771" providerId="LiveId" clId="{77711C24-CE86-4310-83AB-2BFC8187209E}" dt="2018-11-14T18:42:40.466" v="1976" actId="478"/>
          <ac:spMkLst>
            <pc:docMk/>
            <pc:sldMk cId="2643373305" sldId="688"/>
            <ac:spMk id="8" creationId="{77F4D32F-7614-4222-98CD-2197DC2C3089}"/>
          </ac:spMkLst>
        </pc:spChg>
        <pc:spChg chg="mod ord">
          <ac:chgData name="Yakov Pakhomov" userId="857a8f7002735771" providerId="LiveId" clId="{77711C24-CE86-4310-83AB-2BFC8187209E}" dt="2018-11-15T14:30:55.491" v="27448"/>
          <ac:spMkLst>
            <pc:docMk/>
            <pc:sldMk cId="2643373305" sldId="688"/>
            <ac:spMk id="9" creationId="{BA0E3384-9EB5-4EBC-AFFF-8BE6C2C43030}"/>
          </ac:spMkLst>
        </pc:spChg>
        <pc:spChg chg="del">
          <ac:chgData name="Yakov Pakhomov" userId="857a8f7002735771" providerId="LiveId" clId="{77711C24-CE86-4310-83AB-2BFC8187209E}" dt="2018-11-14T08:54:15.403" v="337" actId="478"/>
          <ac:spMkLst>
            <pc:docMk/>
            <pc:sldMk cId="2643373305" sldId="688"/>
            <ac:spMk id="11" creationId="{5B23C0AD-78A6-42D1-B6E3-FFC0826CDF33}"/>
          </ac:spMkLst>
        </pc:spChg>
        <pc:spChg chg="add del">
          <ac:chgData name="Yakov Pakhomov" userId="857a8f7002735771" providerId="LiveId" clId="{77711C24-CE86-4310-83AB-2BFC8187209E}" dt="2018-11-15T14:27:23.638" v="27251"/>
          <ac:spMkLst>
            <pc:docMk/>
            <pc:sldMk cId="2643373305" sldId="688"/>
            <ac:spMk id="12" creationId="{57519C47-863F-4726-A8FB-32CBE678326F}"/>
          </ac:spMkLst>
        </pc:spChg>
        <pc:spChg chg="del">
          <ac:chgData name="Yakov Pakhomov" userId="857a8f7002735771" providerId="LiveId" clId="{77711C24-CE86-4310-83AB-2BFC8187209E}" dt="2018-11-14T08:54:12.682" v="336" actId="478"/>
          <ac:spMkLst>
            <pc:docMk/>
            <pc:sldMk cId="2643373305" sldId="688"/>
            <ac:spMk id="13" creationId="{4F787A00-ED2F-4608-AB2C-066C63CE0E3D}"/>
          </ac:spMkLst>
        </pc:spChg>
        <pc:spChg chg="add del mod">
          <ac:chgData name="Yakov Pakhomov" userId="857a8f7002735771" providerId="LiveId" clId="{77711C24-CE86-4310-83AB-2BFC8187209E}" dt="2018-11-15T14:27:36.663" v="27257"/>
          <ac:spMkLst>
            <pc:docMk/>
            <pc:sldMk cId="2643373305" sldId="688"/>
            <ac:spMk id="14" creationId="{EA524C9D-A893-404F-9CB2-66D0F062B6C8}"/>
          </ac:spMkLst>
        </pc:spChg>
        <pc:spChg chg="add mod ord">
          <ac:chgData name="Yakov Pakhomov" userId="857a8f7002735771" providerId="LiveId" clId="{77711C24-CE86-4310-83AB-2BFC8187209E}" dt="2018-11-15T14:30:55.493" v="27454"/>
          <ac:spMkLst>
            <pc:docMk/>
            <pc:sldMk cId="2643373305" sldId="688"/>
            <ac:spMk id="15" creationId="{0E78DFF5-E7D8-495B-919C-BAA6ACC66604}"/>
          </ac:spMkLst>
        </pc:spChg>
        <pc:spChg chg="del">
          <ac:chgData name="Yakov Pakhomov" userId="857a8f7002735771" providerId="LiveId" clId="{77711C24-CE86-4310-83AB-2BFC8187209E}" dt="2018-11-14T08:54:15.403" v="337" actId="478"/>
          <ac:spMkLst>
            <pc:docMk/>
            <pc:sldMk cId="2643373305" sldId="688"/>
            <ac:spMk id="16" creationId="{EABCB6E8-D7ED-45AB-919B-E41F71D16858}"/>
          </ac:spMkLst>
        </pc:spChg>
        <pc:spChg chg="add mod ord">
          <ac:chgData name="Yakov Pakhomov" userId="857a8f7002735771" providerId="LiveId" clId="{77711C24-CE86-4310-83AB-2BFC8187209E}" dt="2018-11-15T14:31:49.474" v="27477" actId="1076"/>
          <ac:spMkLst>
            <pc:docMk/>
            <pc:sldMk cId="2643373305" sldId="688"/>
            <ac:spMk id="17" creationId="{9B1846B7-5E4C-483B-9E3F-43461F45D7D4}"/>
          </ac:spMkLst>
        </pc:spChg>
        <pc:spChg chg="add mod ord">
          <ac:chgData name="Yakov Pakhomov" userId="857a8f7002735771" providerId="LiveId" clId="{77711C24-CE86-4310-83AB-2BFC8187209E}" dt="2018-11-15T14:30:55.494" v="27458"/>
          <ac:spMkLst>
            <pc:docMk/>
            <pc:sldMk cId="2643373305" sldId="688"/>
            <ac:spMk id="18" creationId="{B5F00C77-41D5-48D7-9EE2-6DBDE9C7FAB5}"/>
          </ac:spMkLst>
        </pc:spChg>
        <pc:spChg chg="add del mod ord">
          <ac:chgData name="Yakov Pakhomov" userId="857a8f7002735771" providerId="LiveId" clId="{77711C24-CE86-4310-83AB-2BFC8187209E}" dt="2018-11-15T14:30:55.495" v="27460"/>
          <ac:spMkLst>
            <pc:docMk/>
            <pc:sldMk cId="2643373305" sldId="688"/>
            <ac:spMk id="19" creationId="{644248AD-328F-43FE-A2AD-4EC32D27A5B6}"/>
          </ac:spMkLst>
        </pc:spChg>
        <pc:spChg chg="add mod ord">
          <ac:chgData name="Yakov Pakhomov" userId="857a8f7002735771" providerId="LiveId" clId="{77711C24-CE86-4310-83AB-2BFC8187209E}" dt="2018-11-15T14:30:55.495" v="27462"/>
          <ac:spMkLst>
            <pc:docMk/>
            <pc:sldMk cId="2643373305" sldId="688"/>
            <ac:spMk id="20" creationId="{46DB0FDA-9639-4BBE-A987-33CA1AE4AD30}"/>
          </ac:spMkLst>
        </pc:spChg>
        <pc:spChg chg="add mod ord">
          <ac:chgData name="Yakov Pakhomov" userId="857a8f7002735771" providerId="LiveId" clId="{77711C24-CE86-4310-83AB-2BFC8187209E}" dt="2018-11-15T14:30:55.496" v="27466"/>
          <ac:spMkLst>
            <pc:docMk/>
            <pc:sldMk cId="2643373305" sldId="688"/>
            <ac:spMk id="21" creationId="{8649EA7C-6099-4B81-9AB0-DB41CBEB5958}"/>
          </ac:spMkLst>
        </pc:spChg>
        <pc:spChg chg="add mod ord">
          <ac:chgData name="Yakov Pakhomov" userId="857a8f7002735771" providerId="LiveId" clId="{77711C24-CE86-4310-83AB-2BFC8187209E}" dt="2018-11-15T14:30:55.496" v="27464"/>
          <ac:spMkLst>
            <pc:docMk/>
            <pc:sldMk cId="2643373305" sldId="688"/>
            <ac:spMk id="22" creationId="{1053CCD4-2227-431B-B1DB-D1967B4FB218}"/>
          </ac:spMkLst>
        </pc:spChg>
        <pc:spChg chg="add mod">
          <ac:chgData name="Yakov Pakhomov" userId="857a8f7002735771" providerId="LiveId" clId="{77711C24-CE86-4310-83AB-2BFC8187209E}" dt="2018-11-15T14:31:18.118" v="27475" actId="1076"/>
          <ac:spMkLst>
            <pc:docMk/>
            <pc:sldMk cId="2643373305" sldId="688"/>
            <ac:spMk id="23" creationId="{55E9BFCF-9D56-49F3-A5EC-910E9710A467}"/>
          </ac:spMkLst>
        </pc:spChg>
        <pc:spChg chg="add mod">
          <ac:chgData name="Yakov Pakhomov" userId="857a8f7002735771" providerId="LiveId" clId="{77711C24-CE86-4310-83AB-2BFC8187209E}" dt="2018-11-15T14:32:16.343" v="27505" actId="1076"/>
          <ac:spMkLst>
            <pc:docMk/>
            <pc:sldMk cId="2643373305" sldId="688"/>
            <ac:spMk id="24" creationId="{4E97B668-4B4D-4867-96B3-6236A194C3E0}"/>
          </ac:spMkLst>
        </pc:spChg>
        <pc:graphicFrameChg chg="mod ord">
          <ac:chgData name="Yakov Pakhomov" userId="857a8f7002735771" providerId="LiveId" clId="{77711C24-CE86-4310-83AB-2BFC8187209E}" dt="2018-11-15T14:30:55.499" v="27468"/>
          <ac:graphicFrameMkLst>
            <pc:docMk/>
            <pc:sldMk cId="2643373305" sldId="688"/>
            <ac:graphicFrameMk id="5" creationId="{BED4C92E-0FA6-4563-A75F-872CA5A9551F}"/>
          </ac:graphicFrameMkLst>
        </pc:graphicFrameChg>
        <pc:picChg chg="del">
          <ac:chgData name="Yakov Pakhomov" userId="857a8f7002735771" providerId="LiveId" clId="{77711C24-CE86-4310-83AB-2BFC8187209E}" dt="2018-11-14T08:54:10.901" v="335" actId="478"/>
          <ac:picMkLst>
            <pc:docMk/>
            <pc:sldMk cId="2643373305" sldId="688"/>
            <ac:picMk id="2" creationId="{90F48733-73FB-47B6-B2EF-8929F158138A}"/>
          </ac:picMkLst>
        </pc:picChg>
        <pc:picChg chg="del">
          <ac:chgData name="Yakov Pakhomov" userId="857a8f7002735771" providerId="LiveId" clId="{77711C24-CE86-4310-83AB-2BFC8187209E}" dt="2018-11-14T08:54:10.901" v="335" actId="478"/>
          <ac:picMkLst>
            <pc:docMk/>
            <pc:sldMk cId="2643373305" sldId="688"/>
            <ac:picMk id="3" creationId="{C67CA920-B541-4459-BABA-EE6C94976319}"/>
          </ac:picMkLst>
        </pc:picChg>
        <pc:picChg chg="add mod ord">
          <ac:chgData name="Yakov Pakhomov" userId="857a8f7002735771" providerId="LiveId" clId="{77711C24-CE86-4310-83AB-2BFC8187209E}" dt="2018-11-15T14:30:55.492" v="27452"/>
          <ac:picMkLst>
            <pc:docMk/>
            <pc:sldMk cId="2643373305" sldId="688"/>
            <ac:picMk id="10" creationId="{8D305FB5-DB78-4948-9F2C-DCF562407ECA}"/>
          </ac:picMkLst>
        </pc:picChg>
      </pc:sldChg>
      <pc:sldChg chg="addSp delSp modSp add ord modNotesTx">
        <pc:chgData name="Yakov Pakhomov" userId="857a8f7002735771" providerId="LiveId" clId="{77711C24-CE86-4310-83AB-2BFC8187209E}" dt="2018-11-14T18:48:22.352" v="2126"/>
        <pc:sldMkLst>
          <pc:docMk/>
          <pc:sldMk cId="1559271923" sldId="689"/>
        </pc:sldMkLst>
        <pc:spChg chg="add mod">
          <ac:chgData name="Yakov Pakhomov" userId="857a8f7002735771" providerId="LiveId" clId="{77711C24-CE86-4310-83AB-2BFC8187209E}" dt="2018-11-14T18:19:11.486" v="1296" actId="14100"/>
          <ac:spMkLst>
            <pc:docMk/>
            <pc:sldMk cId="1559271923" sldId="689"/>
            <ac:spMk id="2" creationId="{D9FB95E8-8317-433F-A5CF-B071128DFCDB}"/>
          </ac:spMkLst>
        </pc:spChg>
        <pc:spChg chg="mod ord">
          <ac:chgData name="Yakov Pakhomov" userId="857a8f7002735771" providerId="LiveId" clId="{77711C24-CE86-4310-83AB-2BFC8187209E}" dt="2018-11-14T18:29:02.349" v="1449"/>
          <ac:spMkLst>
            <pc:docMk/>
            <pc:sldMk cId="1559271923" sldId="689"/>
            <ac:spMk id="4" creationId="{A1B34355-66E5-4ED9-84D9-063B1DB58FC8}"/>
          </ac:spMkLst>
        </pc:spChg>
        <pc:spChg chg="mod ord">
          <ac:chgData name="Yakov Pakhomov" userId="857a8f7002735771" providerId="LiveId" clId="{77711C24-CE86-4310-83AB-2BFC8187209E}" dt="2018-11-14T18:29:02.887" v="1481" actId="6549"/>
          <ac:spMkLst>
            <pc:docMk/>
            <pc:sldMk cId="1559271923" sldId="689"/>
            <ac:spMk id="7" creationId="{D694981E-5870-47D9-81E4-B7718BDC8A5A}"/>
          </ac:spMkLst>
        </pc:spChg>
        <pc:spChg chg="del">
          <ac:chgData name="Yakov Pakhomov" userId="857a8f7002735771" providerId="LiveId" clId="{77711C24-CE86-4310-83AB-2BFC8187209E}" dt="2018-11-14T08:55:54.759" v="350" actId="478"/>
          <ac:spMkLst>
            <pc:docMk/>
            <pc:sldMk cId="1559271923" sldId="689"/>
            <ac:spMk id="8" creationId="{77F4D32F-7614-4222-98CD-2197DC2C3089}"/>
          </ac:spMkLst>
        </pc:spChg>
        <pc:spChg chg="mod ord">
          <ac:chgData name="Yakov Pakhomov" userId="857a8f7002735771" providerId="LiveId" clId="{77711C24-CE86-4310-83AB-2BFC8187209E}" dt="2018-11-14T08:56:14.662" v="390"/>
          <ac:spMkLst>
            <pc:docMk/>
            <pc:sldMk cId="1559271923" sldId="689"/>
            <ac:spMk id="9" creationId="{BA0E3384-9EB5-4EBC-AFFF-8BE6C2C43030}"/>
          </ac:spMkLst>
        </pc:spChg>
        <pc:spChg chg="add mod ord">
          <ac:chgData name="Yakov Pakhomov" userId="857a8f7002735771" providerId="LiveId" clId="{77711C24-CE86-4310-83AB-2BFC8187209E}" dt="2018-11-14T08:56:14.662" v="392"/>
          <ac:spMkLst>
            <pc:docMk/>
            <pc:sldMk cId="1559271923" sldId="689"/>
            <ac:spMk id="10" creationId="{1AB948B4-78DC-40E0-9AF3-E5F156CD984D}"/>
          </ac:spMkLst>
        </pc:spChg>
        <pc:spChg chg="add mod ord">
          <ac:chgData name="Yakov Pakhomov" userId="857a8f7002735771" providerId="LiveId" clId="{77711C24-CE86-4310-83AB-2BFC8187209E}" dt="2018-11-14T09:11:29.441" v="505"/>
          <ac:spMkLst>
            <pc:docMk/>
            <pc:sldMk cId="1559271923" sldId="689"/>
            <ac:spMk id="12" creationId="{83D63245-5FA3-4F61-84EA-CBE4146E4582}"/>
          </ac:spMkLst>
        </pc:spChg>
        <pc:spChg chg="add mod ord">
          <ac:chgData name="Yakov Pakhomov" userId="857a8f7002735771" providerId="LiveId" clId="{77711C24-CE86-4310-83AB-2BFC8187209E}" dt="2018-11-14T09:13:23.562" v="555" actId="20577"/>
          <ac:spMkLst>
            <pc:docMk/>
            <pc:sldMk cId="1559271923" sldId="689"/>
            <ac:spMk id="13" creationId="{2D699C19-A083-4253-9187-083EDF77C10B}"/>
          </ac:spMkLst>
        </pc:spChg>
        <pc:spChg chg="add mod ord">
          <ac:chgData name="Yakov Pakhomov" userId="857a8f7002735771" providerId="LiveId" clId="{77711C24-CE86-4310-83AB-2BFC8187209E}" dt="2018-11-14T09:14:05.240" v="560" actId="20577"/>
          <ac:spMkLst>
            <pc:docMk/>
            <pc:sldMk cId="1559271923" sldId="689"/>
            <ac:spMk id="16" creationId="{6B687018-3EDE-4141-9FE6-3C43FE478AE7}"/>
          </ac:spMkLst>
        </pc:spChg>
        <pc:spChg chg="add mod">
          <ac:chgData name="Yakov Pakhomov" userId="857a8f7002735771" providerId="LiveId" clId="{77711C24-CE86-4310-83AB-2BFC8187209E}" dt="2018-11-14T09:13:54.482" v="557" actId="20577"/>
          <ac:spMkLst>
            <pc:docMk/>
            <pc:sldMk cId="1559271923" sldId="689"/>
            <ac:spMk id="19" creationId="{9325DD5E-6DD6-49CB-A585-718EA5B71D14}"/>
          </ac:spMkLst>
        </pc:spChg>
        <pc:spChg chg="add">
          <ac:chgData name="Yakov Pakhomov" userId="857a8f7002735771" providerId="LiveId" clId="{77711C24-CE86-4310-83AB-2BFC8187209E}" dt="2018-11-14T09:14:22.169" v="561"/>
          <ac:spMkLst>
            <pc:docMk/>
            <pc:sldMk cId="1559271923" sldId="689"/>
            <ac:spMk id="20" creationId="{361BC693-287A-46B3-8528-92B1F08D7D95}"/>
          </ac:spMkLst>
        </pc:spChg>
        <pc:spChg chg="add">
          <ac:chgData name="Yakov Pakhomov" userId="857a8f7002735771" providerId="LiveId" clId="{77711C24-CE86-4310-83AB-2BFC8187209E}" dt="2018-11-14T09:14:22.169" v="561"/>
          <ac:spMkLst>
            <pc:docMk/>
            <pc:sldMk cId="1559271923" sldId="689"/>
            <ac:spMk id="21" creationId="{7A356CBA-A808-4033-A991-2445D86E11B9}"/>
          </ac:spMkLst>
        </pc:spChg>
        <pc:graphicFrameChg chg="mod ord">
          <ac:chgData name="Yakov Pakhomov" userId="857a8f7002735771" providerId="LiveId" clId="{77711C24-CE86-4310-83AB-2BFC8187209E}" dt="2018-11-14T18:29:02.892" v="1483"/>
          <ac:graphicFrameMkLst>
            <pc:docMk/>
            <pc:sldMk cId="1559271923" sldId="689"/>
            <ac:graphicFrameMk id="5" creationId="{BED4C92E-0FA6-4563-A75F-872CA5A9551F}"/>
          </ac:graphicFrameMkLst>
        </pc:graphicFrameChg>
        <pc:picChg chg="add mod ord">
          <ac:chgData name="Yakov Pakhomov" userId="857a8f7002735771" providerId="LiveId" clId="{77711C24-CE86-4310-83AB-2BFC8187209E}" dt="2018-11-14T08:56:14.663" v="394"/>
          <ac:picMkLst>
            <pc:docMk/>
            <pc:sldMk cId="1559271923" sldId="689"/>
            <ac:picMk id="11" creationId="{13C4231C-840C-48A7-9D37-1F56237A77F6}"/>
          </ac:picMkLst>
        </pc:picChg>
        <pc:picChg chg="add mod ord">
          <ac:chgData name="Yakov Pakhomov" userId="857a8f7002735771" providerId="LiveId" clId="{77711C24-CE86-4310-83AB-2BFC8187209E}" dt="2018-11-14T08:56:14.663" v="396"/>
          <ac:picMkLst>
            <pc:docMk/>
            <pc:sldMk cId="1559271923" sldId="689"/>
            <ac:picMk id="14" creationId="{ED099845-7DA8-4DDB-8ECF-3E226D891C5E}"/>
          </ac:picMkLst>
        </pc:picChg>
        <pc:picChg chg="add mod ord">
          <ac:chgData name="Yakov Pakhomov" userId="857a8f7002735771" providerId="LiveId" clId="{77711C24-CE86-4310-83AB-2BFC8187209E}" dt="2018-11-14T08:56:14.664" v="398"/>
          <ac:picMkLst>
            <pc:docMk/>
            <pc:sldMk cId="1559271923" sldId="689"/>
            <ac:picMk id="15" creationId="{7BAB6188-A629-4C94-BFAF-01A209C7E963}"/>
          </ac:picMkLst>
        </pc:picChg>
        <pc:picChg chg="add mod ord">
          <ac:chgData name="Yakov Pakhomov" userId="857a8f7002735771" providerId="LiveId" clId="{77711C24-CE86-4310-83AB-2BFC8187209E}" dt="2018-11-14T08:56:14.665" v="404"/>
          <ac:picMkLst>
            <pc:docMk/>
            <pc:sldMk cId="1559271923" sldId="689"/>
            <ac:picMk id="18" creationId="{5BB0BC4B-2E88-47E6-A6AA-5623C3E7258F}"/>
          </ac:picMkLst>
        </pc:picChg>
        <pc:cxnChg chg="add mod ord">
          <ac:chgData name="Yakov Pakhomov" userId="857a8f7002735771" providerId="LiveId" clId="{77711C24-CE86-4310-83AB-2BFC8187209E}" dt="2018-11-14T08:56:14.664" v="402"/>
          <ac:cxnSpMkLst>
            <pc:docMk/>
            <pc:sldMk cId="1559271923" sldId="689"/>
            <ac:cxnSpMk id="17" creationId="{78D78F2F-FB27-4BDB-A6EC-B695BBAC42D4}"/>
          </ac:cxnSpMkLst>
        </pc:cxnChg>
      </pc:sldChg>
      <pc:sldChg chg="addSp delSp modSp add">
        <pc:chgData name="Yakov Pakhomov" userId="857a8f7002735771" providerId="LiveId" clId="{77711C24-CE86-4310-83AB-2BFC8187209E}" dt="2018-11-15T14:34:38.833" v="27590" actId="1076"/>
        <pc:sldMkLst>
          <pc:docMk/>
          <pc:sldMk cId="2893241447" sldId="690"/>
        </pc:sldMkLst>
        <pc:spChg chg="add del">
          <ac:chgData name="Yakov Pakhomov" userId="857a8f7002735771" providerId="LiveId" clId="{77711C24-CE86-4310-83AB-2BFC8187209E}" dt="2018-11-14T18:47:05.685" v="2064"/>
          <ac:spMkLst>
            <pc:docMk/>
            <pc:sldMk cId="2893241447" sldId="690"/>
            <ac:spMk id="3" creationId="{B36F6751-2FF4-4314-B50E-1F0E9EE1CC30}"/>
          </ac:spMkLst>
        </pc:spChg>
        <pc:spChg chg="mod">
          <ac:chgData name="Yakov Pakhomov" userId="857a8f7002735771" providerId="LiveId" clId="{77711C24-CE86-4310-83AB-2BFC8187209E}" dt="2018-11-14T18:56:37.590" v="2532"/>
          <ac:spMkLst>
            <pc:docMk/>
            <pc:sldMk cId="2893241447" sldId="690"/>
            <ac:spMk id="4" creationId="{A1B34355-66E5-4ED9-84D9-063B1DB58FC8}"/>
          </ac:spMkLst>
        </pc:spChg>
        <pc:spChg chg="add mod">
          <ac:chgData name="Yakov Pakhomov" userId="857a8f7002735771" providerId="LiveId" clId="{77711C24-CE86-4310-83AB-2BFC8187209E}" dt="2018-11-14T18:47:44.169" v="2122" actId="1076"/>
          <ac:spMkLst>
            <pc:docMk/>
            <pc:sldMk cId="2893241447" sldId="690"/>
            <ac:spMk id="6" creationId="{A8C1A534-363D-49AA-A3D5-29DDEA702432}"/>
          </ac:spMkLst>
        </pc:spChg>
        <pc:spChg chg="mod">
          <ac:chgData name="Yakov Pakhomov" userId="857a8f7002735771" providerId="LiveId" clId="{77711C24-CE86-4310-83AB-2BFC8187209E}" dt="2018-11-14T18:56:38.118" v="2564" actId="6549"/>
          <ac:spMkLst>
            <pc:docMk/>
            <pc:sldMk cId="2893241447" sldId="690"/>
            <ac:spMk id="7" creationId="{D694981E-5870-47D9-81E4-B7718BDC8A5A}"/>
          </ac:spMkLst>
        </pc:spChg>
        <pc:spChg chg="add mod">
          <ac:chgData name="Yakov Pakhomov" userId="857a8f7002735771" providerId="LiveId" clId="{77711C24-CE86-4310-83AB-2BFC8187209E}" dt="2018-11-15T14:34:38.833" v="27590" actId="1076"/>
          <ac:spMkLst>
            <pc:docMk/>
            <pc:sldMk cId="2893241447" sldId="690"/>
            <ac:spMk id="11" creationId="{DC3281F7-1F14-45A7-A239-11CAEF6D647F}"/>
          </ac:spMkLst>
        </pc:spChg>
        <pc:spChg chg="add mod">
          <ac:chgData name="Yakov Pakhomov" userId="857a8f7002735771" providerId="LiveId" clId="{77711C24-CE86-4310-83AB-2BFC8187209E}" dt="2018-11-15T14:33:03.546" v="27542" actId="1076"/>
          <ac:spMkLst>
            <pc:docMk/>
            <pc:sldMk cId="2893241447" sldId="690"/>
            <ac:spMk id="12" creationId="{3DB35051-DCD3-48E5-A94D-CF1AF78E8853}"/>
          </ac:spMkLst>
        </pc:spChg>
        <pc:spChg chg="add mod">
          <ac:chgData name="Yakov Pakhomov" userId="857a8f7002735771" providerId="LiveId" clId="{77711C24-CE86-4310-83AB-2BFC8187209E}" dt="2018-11-15T14:34:31.384" v="27588" actId="14100"/>
          <ac:spMkLst>
            <pc:docMk/>
            <pc:sldMk cId="2893241447" sldId="690"/>
            <ac:spMk id="13" creationId="{1207E47E-02FE-4245-90A1-A89401266E92}"/>
          </ac:spMkLst>
        </pc:spChg>
        <pc:spChg chg="add mod">
          <ac:chgData name="Yakov Pakhomov" userId="857a8f7002735771" providerId="LiveId" clId="{77711C24-CE86-4310-83AB-2BFC8187209E}" dt="2018-11-15T14:33:24.357" v="27562" actId="20577"/>
          <ac:spMkLst>
            <pc:docMk/>
            <pc:sldMk cId="2893241447" sldId="690"/>
            <ac:spMk id="14" creationId="{4C71CDDC-4AF8-4FC5-BF8B-30A2C159F092}"/>
          </ac:spMkLst>
        </pc:spChg>
        <pc:spChg chg="add mod">
          <ac:chgData name="Yakov Pakhomov" userId="857a8f7002735771" providerId="LiveId" clId="{77711C24-CE86-4310-83AB-2BFC8187209E}" dt="2018-11-15T14:33:46.645" v="27579" actId="1076"/>
          <ac:spMkLst>
            <pc:docMk/>
            <pc:sldMk cId="2893241447" sldId="690"/>
            <ac:spMk id="15" creationId="{FB265085-FD09-4C63-BB29-B22B2DF788EE}"/>
          </ac:spMkLst>
        </pc:spChg>
        <pc:spChg chg="add mod">
          <ac:chgData name="Yakov Pakhomov" userId="857a8f7002735771" providerId="LiveId" clId="{77711C24-CE86-4310-83AB-2BFC8187209E}" dt="2018-11-15T14:34:03.756" v="27586" actId="1076"/>
          <ac:spMkLst>
            <pc:docMk/>
            <pc:sldMk cId="2893241447" sldId="690"/>
            <ac:spMk id="16" creationId="{86A95D79-C1EB-451B-9277-428FC21B07E3}"/>
          </ac:spMkLst>
        </pc:spChg>
        <pc:graphicFrameChg chg="mod">
          <ac:chgData name="Yakov Pakhomov" userId="857a8f7002735771" providerId="LiveId" clId="{77711C24-CE86-4310-83AB-2BFC8187209E}" dt="2018-11-14T18:56:38.122" v="2566"/>
          <ac:graphicFrameMkLst>
            <pc:docMk/>
            <pc:sldMk cId="2893241447" sldId="690"/>
            <ac:graphicFrameMk id="5" creationId="{BED4C92E-0FA6-4563-A75F-872CA5A9551F}"/>
          </ac:graphicFrameMkLst>
        </pc:graphicFrameChg>
        <pc:picChg chg="add mod">
          <ac:chgData name="Yakov Pakhomov" userId="857a8f7002735771" providerId="LiveId" clId="{77711C24-CE86-4310-83AB-2BFC8187209E}" dt="2018-11-15T14:34:04.615" v="27587" actId="1076"/>
          <ac:picMkLst>
            <pc:docMk/>
            <pc:sldMk cId="2893241447" sldId="690"/>
            <ac:picMk id="2" creationId="{22348F88-6E99-4F27-9520-892E07D3D6D8}"/>
          </ac:picMkLst>
        </pc:picChg>
        <pc:picChg chg="del">
          <ac:chgData name="Yakov Pakhomov" userId="857a8f7002735771" providerId="LiveId" clId="{77711C24-CE86-4310-83AB-2BFC8187209E}" dt="2018-11-14T18:45:52.209" v="2041" actId="478"/>
          <ac:picMkLst>
            <pc:docMk/>
            <pc:sldMk cId="2893241447" sldId="690"/>
            <ac:picMk id="10" creationId="{8D305FB5-DB78-4948-9F2C-DCF562407ECA}"/>
          </ac:picMkLst>
        </pc:picChg>
      </pc:sldChg>
      <pc:sldChg chg="addSp delSp modSp add">
        <pc:chgData name="Yakov Pakhomov" userId="857a8f7002735771" providerId="LiveId" clId="{77711C24-CE86-4310-83AB-2BFC8187209E}" dt="2018-11-14T18:56:40.886" v="2601"/>
        <pc:sldMkLst>
          <pc:docMk/>
          <pc:sldMk cId="1589030334" sldId="691"/>
        </pc:sldMkLst>
        <pc:spChg chg="mod">
          <ac:chgData name="Yakov Pakhomov" userId="857a8f7002735771" providerId="LiveId" clId="{77711C24-CE86-4310-83AB-2BFC8187209E}" dt="2018-11-14T18:56:40.332" v="2567"/>
          <ac:spMkLst>
            <pc:docMk/>
            <pc:sldMk cId="1589030334" sldId="691"/>
            <ac:spMk id="4" creationId="{A1B34355-66E5-4ED9-84D9-063B1DB58FC8}"/>
          </ac:spMkLst>
        </pc:spChg>
        <pc:spChg chg="add del">
          <ac:chgData name="Yakov Pakhomov" userId="857a8f7002735771" providerId="LiveId" clId="{77711C24-CE86-4310-83AB-2BFC8187209E}" dt="2018-11-14T18:46:41.314" v="2054"/>
          <ac:spMkLst>
            <pc:docMk/>
            <pc:sldMk cId="1589030334" sldId="691"/>
            <ac:spMk id="6" creationId="{8F86FD07-3602-4078-935F-D963D1E9ABCC}"/>
          </ac:spMkLst>
        </pc:spChg>
        <pc:spChg chg="mod">
          <ac:chgData name="Yakov Pakhomov" userId="857a8f7002735771" providerId="LiveId" clId="{77711C24-CE86-4310-83AB-2BFC8187209E}" dt="2018-11-14T18:56:40.880" v="2599" actId="6549"/>
          <ac:spMkLst>
            <pc:docMk/>
            <pc:sldMk cId="1589030334" sldId="691"/>
            <ac:spMk id="7" creationId="{D694981E-5870-47D9-81E4-B7718BDC8A5A}"/>
          </ac:spMkLst>
        </pc:spChg>
        <pc:spChg chg="add mod">
          <ac:chgData name="Yakov Pakhomov" userId="857a8f7002735771" providerId="LiveId" clId="{77711C24-CE86-4310-83AB-2BFC8187209E}" dt="2018-11-14T18:46:44.475" v="2056" actId="1076"/>
          <ac:spMkLst>
            <pc:docMk/>
            <pc:sldMk cId="1589030334" sldId="691"/>
            <ac:spMk id="8" creationId="{2A141673-779F-48F9-8F1C-105CDDF6AD04}"/>
          </ac:spMkLst>
        </pc:spChg>
        <pc:graphicFrameChg chg="mod">
          <ac:chgData name="Yakov Pakhomov" userId="857a8f7002735771" providerId="LiveId" clId="{77711C24-CE86-4310-83AB-2BFC8187209E}" dt="2018-11-14T18:56:40.886" v="2601"/>
          <ac:graphicFrameMkLst>
            <pc:docMk/>
            <pc:sldMk cId="1589030334" sldId="691"/>
            <ac:graphicFrameMk id="5" creationId="{BED4C92E-0FA6-4563-A75F-872CA5A9551F}"/>
          </ac:graphicFrameMkLst>
        </pc:graphicFrameChg>
        <pc:picChg chg="del">
          <ac:chgData name="Yakov Pakhomov" userId="857a8f7002735771" providerId="LiveId" clId="{77711C24-CE86-4310-83AB-2BFC8187209E}" dt="2018-11-14T18:46:34.317" v="2051" actId="478"/>
          <ac:picMkLst>
            <pc:docMk/>
            <pc:sldMk cId="1589030334" sldId="691"/>
            <ac:picMk id="2" creationId="{22348F88-6E99-4F27-9520-892E07D3D6D8}"/>
          </ac:picMkLst>
        </pc:picChg>
        <pc:picChg chg="add mod">
          <ac:chgData name="Yakov Pakhomov" userId="857a8f7002735771" providerId="LiveId" clId="{77711C24-CE86-4310-83AB-2BFC8187209E}" dt="2018-11-14T18:46:55.623" v="2062" actId="1076"/>
          <ac:picMkLst>
            <pc:docMk/>
            <pc:sldMk cId="1589030334" sldId="691"/>
            <ac:picMk id="3" creationId="{54290F40-BE8F-4FE6-8981-B0193E5C6B1F}"/>
          </ac:picMkLst>
        </pc:picChg>
      </pc:sldChg>
      <pc:sldChg chg="addSp delSp modSp add del ord modTransition">
        <pc:chgData name="Yakov Pakhomov" userId="857a8f7002735771" providerId="LiveId" clId="{77711C24-CE86-4310-83AB-2BFC8187209E}" dt="2018-11-15T09:28:38.754" v="20920" actId="2696"/>
        <pc:sldMkLst>
          <pc:docMk/>
          <pc:sldMk cId="925115704" sldId="692"/>
        </pc:sldMkLst>
        <pc:spChg chg="mod ord">
          <ac:chgData name="Yakov Pakhomov" userId="857a8f7002735771" providerId="LiveId" clId="{77711C24-CE86-4310-83AB-2BFC8187209E}" dt="2018-11-15T09:28:21.084" v="20742"/>
          <ac:spMkLst>
            <pc:docMk/>
            <pc:sldMk cId="925115704" sldId="692"/>
            <ac:spMk id="2" creationId="{75A40949-6845-4528-AD16-EE1EAA09DA69}"/>
          </ac:spMkLst>
        </pc:spChg>
        <pc:spChg chg="add del mod ord">
          <ac:chgData name="Yakov Pakhomov" userId="857a8f7002735771" providerId="LiveId" clId="{77711C24-CE86-4310-83AB-2BFC8187209E}" dt="2018-11-15T09:28:36.422" v="20816"/>
          <ac:spMkLst>
            <pc:docMk/>
            <pc:sldMk cId="925115704" sldId="692"/>
            <ac:spMk id="3" creationId="{E0E2D3F9-3529-4D5C-ABC0-6CDD69CEBC8F}"/>
          </ac:spMkLst>
        </pc:spChg>
        <pc:spChg chg="add mod ord">
          <ac:chgData name="Yakov Pakhomov" userId="857a8f7002735771" providerId="LiveId" clId="{77711C24-CE86-4310-83AB-2BFC8187209E}" dt="2018-11-15T09:28:21.083" v="20740"/>
          <ac:spMkLst>
            <pc:docMk/>
            <pc:sldMk cId="925115704" sldId="692"/>
            <ac:spMk id="4" creationId="{C2AF77FD-BE2B-4954-A24B-13B22C5BF045}"/>
          </ac:spMkLst>
        </pc:spChg>
        <pc:spChg chg="add del mod ord">
          <ac:chgData name="Yakov Pakhomov" userId="857a8f7002735771" providerId="LiveId" clId="{77711C24-CE86-4310-83AB-2BFC8187209E}" dt="2018-11-14T22:00:49.847" v="11977"/>
          <ac:spMkLst>
            <pc:docMk/>
            <pc:sldMk cId="925115704" sldId="692"/>
            <ac:spMk id="6" creationId="{EF2DF5C3-7543-4C28-98D2-F4D54587F5AC}"/>
          </ac:spMkLst>
        </pc:spChg>
        <pc:spChg chg="add del mod ord">
          <ac:chgData name="Yakov Pakhomov" userId="857a8f7002735771" providerId="LiveId" clId="{77711C24-CE86-4310-83AB-2BFC8187209E}" dt="2018-11-15T09:28:36.420" v="20812"/>
          <ac:spMkLst>
            <pc:docMk/>
            <pc:sldMk cId="925115704" sldId="692"/>
            <ac:spMk id="7" creationId="{26C7850C-F8FC-42CF-A6D3-374C0B3E42A0}"/>
          </ac:spMkLst>
        </pc:spChg>
        <pc:spChg chg="add del mod ord">
          <ac:chgData name="Yakov Pakhomov" userId="857a8f7002735771" providerId="LiveId" clId="{77711C24-CE86-4310-83AB-2BFC8187209E}" dt="2018-11-14T22:26:44.173" v="19559"/>
          <ac:spMkLst>
            <pc:docMk/>
            <pc:sldMk cId="925115704" sldId="692"/>
            <ac:spMk id="8" creationId="{92E1EB97-5410-4D09-872B-D692E1470868}"/>
          </ac:spMkLst>
        </pc:spChg>
        <pc:spChg chg="add del mod ord">
          <ac:chgData name="Yakov Pakhomov" userId="857a8f7002735771" providerId="LiveId" clId="{77711C24-CE86-4310-83AB-2BFC8187209E}" dt="2018-11-15T09:28:36.419" v="20810"/>
          <ac:spMkLst>
            <pc:docMk/>
            <pc:sldMk cId="925115704" sldId="692"/>
            <ac:spMk id="9" creationId="{E1E40E04-B72D-41F2-BDD3-CC24DA42056D}"/>
          </ac:spMkLst>
        </pc:spChg>
        <pc:spChg chg="add del mod ord">
          <ac:chgData name="Yakov Pakhomov" userId="857a8f7002735771" providerId="LiveId" clId="{77711C24-CE86-4310-83AB-2BFC8187209E}" dt="2018-11-15T09:21:32.262" v="20308"/>
          <ac:spMkLst>
            <pc:docMk/>
            <pc:sldMk cId="925115704" sldId="692"/>
            <ac:spMk id="10" creationId="{C6C28564-06F6-4FEE-A038-4D9A264C41F3}"/>
          </ac:spMkLst>
        </pc:spChg>
        <pc:spChg chg="add del mod ord">
          <ac:chgData name="Yakov Pakhomov" userId="857a8f7002735771" providerId="LiveId" clId="{77711C24-CE86-4310-83AB-2BFC8187209E}" dt="2018-11-15T09:21:35.450" v="20554"/>
          <ac:spMkLst>
            <pc:docMk/>
            <pc:sldMk cId="925115704" sldId="692"/>
            <ac:spMk id="11" creationId="{AB4D1582-8CF8-482F-8E4B-FCA431AD4804}"/>
          </ac:spMkLst>
        </pc:spChg>
        <pc:spChg chg="add del mod ord">
          <ac:chgData name="Yakov Pakhomov" userId="857a8f7002735771" providerId="LiveId" clId="{77711C24-CE86-4310-83AB-2BFC8187209E}" dt="2018-11-15T09:28:36.421" v="20814"/>
          <ac:spMkLst>
            <pc:docMk/>
            <pc:sldMk cId="925115704" sldId="692"/>
            <ac:spMk id="12" creationId="{EE4CF53D-7E2A-4DB9-B5BB-8ED61E98C62C}"/>
          </ac:spMkLst>
        </pc:spChg>
        <pc:graphicFrameChg chg="add mod ord">
          <ac:chgData name="Yakov Pakhomov" userId="857a8f7002735771" providerId="LiveId" clId="{77711C24-CE86-4310-83AB-2BFC8187209E}" dt="2018-11-15T09:28:36.511" v="20919"/>
          <ac:graphicFrameMkLst>
            <pc:docMk/>
            <pc:sldMk cId="925115704" sldId="692"/>
            <ac:graphicFrameMk id="5" creationId="{F65593A0-7B9E-41CD-8C39-B260645020DC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4T20:10:07.782" v="3026" actId="6549"/>
        <pc:sldMkLst>
          <pc:docMk/>
          <pc:sldMk cId="1137853880" sldId="693"/>
        </pc:sldMkLst>
        <pc:spChg chg="mod ord">
          <ac:chgData name="Yakov Pakhomov" userId="857a8f7002735771" providerId="LiveId" clId="{77711C24-CE86-4310-83AB-2BFC8187209E}" dt="2018-11-14T18:56:50.043" v="2714" actId="20577"/>
          <ac:spMkLst>
            <pc:docMk/>
            <pc:sldMk cId="1137853880" sldId="693"/>
            <ac:spMk id="2" creationId="{6A925FD2-B429-47C9-A54C-CD08078FC342}"/>
          </ac:spMkLst>
        </pc:spChg>
        <pc:spChg chg="add del">
          <ac:chgData name="Yakov Pakhomov" userId="857a8f7002735771" providerId="LiveId" clId="{77711C24-CE86-4310-83AB-2BFC8187209E}" dt="2018-11-14T18:51:40.040" v="2406"/>
          <ac:spMkLst>
            <pc:docMk/>
            <pc:sldMk cId="1137853880" sldId="693"/>
            <ac:spMk id="3" creationId="{27F31902-58C4-4289-A476-17F646A862C6}"/>
          </ac:spMkLst>
        </pc:spChg>
        <pc:spChg chg="add del">
          <ac:chgData name="Yakov Pakhomov" userId="857a8f7002735771" providerId="LiveId" clId="{77711C24-CE86-4310-83AB-2BFC8187209E}" dt="2018-11-14T18:51:41.362" v="2408"/>
          <ac:spMkLst>
            <pc:docMk/>
            <pc:sldMk cId="1137853880" sldId="693"/>
            <ac:spMk id="4" creationId="{0D100706-87E8-4114-940B-D66BEDA0379C}"/>
          </ac:spMkLst>
        </pc:spChg>
        <pc:spChg chg="add mod ord">
          <ac:chgData name="Yakov Pakhomov" userId="857a8f7002735771" providerId="LiveId" clId="{77711C24-CE86-4310-83AB-2BFC8187209E}" dt="2018-11-14T18:56:50.552" v="2720" actId="6549"/>
          <ac:spMkLst>
            <pc:docMk/>
            <pc:sldMk cId="1137853880" sldId="693"/>
            <ac:spMk id="6" creationId="{8A32F437-AB87-4884-8352-CDCEC3BD3FBA}"/>
          </ac:spMkLst>
        </pc:spChg>
        <pc:spChg chg="add">
          <ac:chgData name="Yakov Pakhomov" userId="857a8f7002735771" providerId="LiveId" clId="{77711C24-CE86-4310-83AB-2BFC8187209E}" dt="2018-11-14T18:57:28.800" v="2729"/>
          <ac:spMkLst>
            <pc:docMk/>
            <pc:sldMk cId="1137853880" sldId="693"/>
            <ac:spMk id="8" creationId="{AACF8A63-5E22-45AF-948C-A21C6B4DC044}"/>
          </ac:spMkLst>
        </pc:spChg>
        <pc:graphicFrameChg chg="add mod ord modGraphic">
          <ac:chgData name="Yakov Pakhomov" userId="857a8f7002735771" providerId="LiveId" clId="{77711C24-CE86-4310-83AB-2BFC8187209E}" dt="2018-11-14T20:10:07.782" v="3026" actId="6549"/>
          <ac:graphicFrameMkLst>
            <pc:docMk/>
            <pc:sldMk cId="1137853880" sldId="693"/>
            <ac:graphicFrameMk id="5" creationId="{85A0DEA0-7770-4EC8-8C1F-1BE12365052D}"/>
          </ac:graphicFrameMkLst>
        </pc:graphicFrameChg>
        <pc:graphicFrameChg chg="add mod ord">
          <ac:chgData name="Yakov Pakhomov" userId="857a8f7002735771" providerId="LiveId" clId="{77711C24-CE86-4310-83AB-2BFC8187209E}" dt="2018-11-14T18:56:50.556" v="2722"/>
          <ac:graphicFrameMkLst>
            <pc:docMk/>
            <pc:sldMk cId="1137853880" sldId="693"/>
            <ac:graphicFrameMk id="7" creationId="{B9CCF61C-69E8-4B3E-A800-21F5C675E1FF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5T14:36:15.506" v="27594" actId="478"/>
        <pc:sldMkLst>
          <pc:docMk/>
          <pc:sldMk cId="1330053191" sldId="694"/>
        </pc:sldMkLst>
        <pc:spChg chg="del">
          <ac:chgData name="Yakov Pakhomov" userId="857a8f7002735771" providerId="LiveId" clId="{77711C24-CE86-4310-83AB-2BFC8187209E}" dt="2018-11-14T20:12:39.845" v="3186"/>
          <ac:spMkLst>
            <pc:docMk/>
            <pc:sldMk cId="1330053191" sldId="694"/>
            <ac:spMk id="2" creationId="{6140FAA1-5A1C-45FF-9FD5-DB42894B52EB}"/>
          </ac:spMkLst>
        </pc:spChg>
        <pc:spChg chg="add mod ord">
          <ac:chgData name="Yakov Pakhomov" userId="857a8f7002735771" providerId="LiveId" clId="{77711C24-CE86-4310-83AB-2BFC8187209E}" dt="2018-11-14T20:13:22.418" v="3401" actId="1076"/>
          <ac:spMkLst>
            <pc:docMk/>
            <pc:sldMk cId="1330053191" sldId="694"/>
            <ac:spMk id="3" creationId="{B125E41A-88A5-4413-9C0B-E5250B5659A4}"/>
          </ac:spMkLst>
        </pc:spChg>
        <pc:spChg chg="add del mod ord">
          <ac:chgData name="Yakov Pakhomov" userId="857a8f7002735771" providerId="LiveId" clId="{77711C24-CE86-4310-83AB-2BFC8187209E}" dt="2018-11-15T14:36:15.506" v="27594" actId="478"/>
          <ac:spMkLst>
            <pc:docMk/>
            <pc:sldMk cId="1330053191" sldId="694"/>
            <ac:spMk id="4" creationId="{73BEAF59-FE0F-49D4-8D76-DAC177A77267}"/>
          </ac:spMkLst>
        </pc:spChg>
        <pc:spChg chg="add del mod ord">
          <ac:chgData name="Yakov Pakhomov" userId="857a8f7002735771" providerId="LiveId" clId="{77711C24-CE86-4310-83AB-2BFC8187209E}" dt="2018-11-14T20:12:51.144" v="3383"/>
          <ac:spMkLst>
            <pc:docMk/>
            <pc:sldMk cId="1330053191" sldId="694"/>
            <ac:spMk id="6" creationId="{6DAB052E-0784-4359-99F2-74176129AA48}"/>
          </ac:spMkLst>
        </pc:spChg>
        <pc:spChg chg="add del">
          <ac:chgData name="Yakov Pakhomov" userId="857a8f7002735771" providerId="LiveId" clId="{77711C24-CE86-4310-83AB-2BFC8187209E}" dt="2018-11-14T20:58:23.893" v="4444"/>
          <ac:spMkLst>
            <pc:docMk/>
            <pc:sldMk cId="1330053191" sldId="694"/>
            <ac:spMk id="8" creationId="{290F9B57-078E-4637-9981-AD1EF9B60191}"/>
          </ac:spMkLst>
        </pc:spChg>
        <pc:spChg chg="add mod">
          <ac:chgData name="Yakov Pakhomov" userId="857a8f7002735771" providerId="LiveId" clId="{77711C24-CE86-4310-83AB-2BFC8187209E}" dt="2018-11-14T20:58:33.984" v="4457" actId="20577"/>
          <ac:spMkLst>
            <pc:docMk/>
            <pc:sldMk cId="1330053191" sldId="694"/>
            <ac:spMk id="9" creationId="{6D9990C5-BD67-4F9E-B4EA-2F92AF477B53}"/>
          </ac:spMkLst>
        </pc:spChg>
        <pc:spChg chg="add del">
          <ac:chgData name="Yakov Pakhomov" userId="857a8f7002735771" providerId="LiveId" clId="{77711C24-CE86-4310-83AB-2BFC8187209E}" dt="2018-11-14T21:10:01.935" v="4631"/>
          <ac:spMkLst>
            <pc:docMk/>
            <pc:sldMk cId="1330053191" sldId="694"/>
            <ac:spMk id="10" creationId="{F10B8458-09AF-4205-9448-0919D60A46BF}"/>
          </ac:spMkLst>
        </pc:spChg>
        <pc:spChg chg="add mod">
          <ac:chgData name="Yakov Pakhomov" userId="857a8f7002735771" providerId="LiveId" clId="{77711C24-CE86-4310-83AB-2BFC8187209E}" dt="2018-11-14T21:11:01.450" v="4660" actId="404"/>
          <ac:spMkLst>
            <pc:docMk/>
            <pc:sldMk cId="1330053191" sldId="694"/>
            <ac:spMk id="11" creationId="{DE8F7332-65EA-4505-8934-387BAC170A46}"/>
          </ac:spMkLst>
        </pc:spChg>
        <pc:graphicFrameChg chg="add mod ord">
          <ac:chgData name="Yakov Pakhomov" userId="857a8f7002735771" providerId="LiveId" clId="{77711C24-CE86-4310-83AB-2BFC8187209E}" dt="2018-11-14T20:13:23.349" v="3403"/>
          <ac:graphicFrameMkLst>
            <pc:docMk/>
            <pc:sldMk cId="1330053191" sldId="694"/>
            <ac:graphicFrameMk id="5" creationId="{301C56B8-E24A-4E83-983D-0C35F01BB6DA}"/>
          </ac:graphicFrameMkLst>
        </pc:graphicFrameChg>
        <pc:graphicFrameChg chg="add del">
          <ac:chgData name="Yakov Pakhomov" userId="857a8f7002735771" providerId="LiveId" clId="{77711C24-CE86-4310-83AB-2BFC8187209E}" dt="2018-11-15T09:55:11.916" v="24844"/>
          <ac:graphicFrameMkLst>
            <pc:docMk/>
            <pc:sldMk cId="1330053191" sldId="694"/>
            <ac:graphicFrameMk id="13" creationId="{896D25D2-BB0A-45BD-A686-9900F1F3A169}"/>
          </ac:graphicFrameMkLst>
        </pc:graphicFrameChg>
        <pc:picChg chg="add mod">
          <ac:chgData name="Yakov Pakhomov" userId="857a8f7002735771" providerId="LiveId" clId="{77711C24-CE86-4310-83AB-2BFC8187209E}" dt="2018-11-14T21:11:06.812" v="4661" actId="1076"/>
          <ac:picMkLst>
            <pc:docMk/>
            <pc:sldMk cId="1330053191" sldId="694"/>
            <ac:picMk id="7" creationId="{E2A9A8C8-3BB2-4A94-874D-5CE61C2015C9}"/>
          </ac:picMkLst>
        </pc:picChg>
        <pc:picChg chg="add del">
          <ac:chgData name="Yakov Pakhomov" userId="857a8f7002735771" providerId="LiveId" clId="{77711C24-CE86-4310-83AB-2BFC8187209E}" dt="2018-11-15T09:54:31.663" v="24277" actId="478"/>
          <ac:picMkLst>
            <pc:docMk/>
            <pc:sldMk cId="1330053191" sldId="694"/>
            <ac:picMk id="12" creationId="{4F8DA7FB-EC24-4332-88E6-502C24D65575}"/>
          </ac:picMkLst>
        </pc:picChg>
      </pc:sldChg>
      <pc:sldChg chg="addSp delSp modSp add">
        <pc:chgData name="Yakov Pakhomov" userId="857a8f7002735771" providerId="LiveId" clId="{77711C24-CE86-4310-83AB-2BFC8187209E}" dt="2018-11-16T08:35:29.184" v="28465"/>
        <pc:sldMkLst>
          <pc:docMk/>
          <pc:sldMk cId="2512034743" sldId="695"/>
        </pc:sldMkLst>
        <pc:spChg chg="del">
          <ac:chgData name="Yakov Pakhomov" userId="857a8f7002735771" providerId="LiveId" clId="{77711C24-CE86-4310-83AB-2BFC8187209E}" dt="2018-11-14T20:13:47.922" v="3405"/>
          <ac:spMkLst>
            <pc:docMk/>
            <pc:sldMk cId="2512034743" sldId="695"/>
            <ac:spMk id="2" creationId="{2A5749D7-4BE7-4DB8-ABCA-648A1C5849D9}"/>
          </ac:spMkLst>
        </pc:spChg>
        <pc:spChg chg="del">
          <ac:chgData name="Yakov Pakhomov" userId="857a8f7002735771" providerId="LiveId" clId="{77711C24-CE86-4310-83AB-2BFC8187209E}" dt="2018-11-14T20:13:47.922" v="3405"/>
          <ac:spMkLst>
            <pc:docMk/>
            <pc:sldMk cId="2512034743" sldId="695"/>
            <ac:spMk id="3" creationId="{D5A38CA9-6624-4BE9-8237-55568213A44F}"/>
          </ac:spMkLst>
        </pc:spChg>
        <pc:spChg chg="add mod ord">
          <ac:chgData name="Yakov Pakhomov" userId="857a8f7002735771" providerId="LiveId" clId="{77711C24-CE86-4310-83AB-2BFC8187209E}" dt="2018-11-14T20:14:16.874" v="3564"/>
          <ac:spMkLst>
            <pc:docMk/>
            <pc:sldMk cId="2512034743" sldId="695"/>
            <ac:spMk id="4" creationId="{1C583F20-8BE8-4BCF-ACE3-8ABD57EC8B28}"/>
          </ac:spMkLst>
        </pc:spChg>
        <pc:spChg chg="add del mod ord">
          <ac:chgData name="Yakov Pakhomov" userId="857a8f7002735771" providerId="LiveId" clId="{77711C24-CE86-4310-83AB-2BFC8187209E}" dt="2018-11-14T20:13:50.755" v="3551"/>
          <ac:spMkLst>
            <pc:docMk/>
            <pc:sldMk cId="2512034743" sldId="695"/>
            <ac:spMk id="6" creationId="{2506B8F5-395B-466E-89FA-05560D379920}"/>
          </ac:spMkLst>
        </pc:spChg>
        <pc:spChg chg="add del mod">
          <ac:chgData name="Yakov Pakhomov" userId="857a8f7002735771" providerId="LiveId" clId="{77711C24-CE86-4310-83AB-2BFC8187209E}" dt="2018-11-16T08:31:58.775" v="28141" actId="478"/>
          <ac:spMkLst>
            <pc:docMk/>
            <pc:sldMk cId="2512034743" sldId="695"/>
            <ac:spMk id="7" creationId="{EF73A8AA-0438-4CCA-AA19-52DF0F9B20E4}"/>
          </ac:spMkLst>
        </pc:spChg>
        <pc:spChg chg="add del">
          <ac:chgData name="Yakov Pakhomov" userId="857a8f7002735771" providerId="LiveId" clId="{77711C24-CE86-4310-83AB-2BFC8187209E}" dt="2018-11-14T20:52:12.304" v="4302"/>
          <ac:spMkLst>
            <pc:docMk/>
            <pc:sldMk cId="2512034743" sldId="695"/>
            <ac:spMk id="9" creationId="{BD8DA00E-982B-4D84-BDC7-535A9727EB07}"/>
          </ac:spMkLst>
        </pc:spChg>
        <pc:spChg chg="add del mod">
          <ac:chgData name="Yakov Pakhomov" userId="857a8f7002735771" providerId="LiveId" clId="{77711C24-CE86-4310-83AB-2BFC8187209E}" dt="2018-11-14T20:53:15.909" v="4389" actId="478"/>
          <ac:spMkLst>
            <pc:docMk/>
            <pc:sldMk cId="2512034743" sldId="695"/>
            <ac:spMk id="10" creationId="{D35FA4BD-6E15-42CE-A8A9-F88F93A22AC4}"/>
          </ac:spMkLst>
        </pc:spChg>
        <pc:spChg chg="add mod">
          <ac:chgData name="Yakov Pakhomov" userId="857a8f7002735771" providerId="LiveId" clId="{77711C24-CE86-4310-83AB-2BFC8187209E}" dt="2018-11-14T20:53:46.474" v="4400" actId="122"/>
          <ac:spMkLst>
            <pc:docMk/>
            <pc:sldMk cId="2512034743" sldId="695"/>
            <ac:spMk id="11" creationId="{600D08B8-6D3F-4B48-BAF8-1EB5608F6062}"/>
          </ac:spMkLst>
        </pc:spChg>
        <pc:spChg chg="add mod">
          <ac:chgData name="Yakov Pakhomov" userId="857a8f7002735771" providerId="LiveId" clId="{77711C24-CE86-4310-83AB-2BFC8187209E}" dt="2018-11-14T21:02:37.233" v="4530" actId="1076"/>
          <ac:spMkLst>
            <pc:docMk/>
            <pc:sldMk cId="2512034743" sldId="695"/>
            <ac:spMk id="12" creationId="{46E3761F-9EC3-43BE-BDEC-5D1E74A252FF}"/>
          </ac:spMkLst>
        </pc:spChg>
        <pc:spChg chg="add mod">
          <ac:chgData name="Yakov Pakhomov" userId="857a8f7002735771" providerId="LiveId" clId="{77711C24-CE86-4310-83AB-2BFC8187209E}" dt="2018-11-15T10:41:46.083" v="25290" actId="1076"/>
          <ac:spMkLst>
            <pc:docMk/>
            <pc:sldMk cId="2512034743" sldId="695"/>
            <ac:spMk id="13" creationId="{1E5F83BF-B74F-41BE-B4DB-D3225D9FD4F0}"/>
          </ac:spMkLst>
        </pc:spChg>
        <pc:spChg chg="add mod">
          <ac:chgData name="Yakov Pakhomov" userId="857a8f7002735771" providerId="LiveId" clId="{77711C24-CE86-4310-83AB-2BFC8187209E}" dt="2018-11-15T10:42:17.088" v="25299" actId="20577"/>
          <ac:spMkLst>
            <pc:docMk/>
            <pc:sldMk cId="2512034743" sldId="695"/>
            <ac:spMk id="14" creationId="{EA719BEF-8930-4BB6-82EE-5CA82D2AA3A1}"/>
          </ac:spMkLst>
        </pc:spChg>
        <pc:spChg chg="add mod">
          <ac:chgData name="Yakov Pakhomov" userId="857a8f7002735771" providerId="LiveId" clId="{77711C24-CE86-4310-83AB-2BFC8187209E}" dt="2018-11-15T10:42:26.540" v="25305" actId="20577"/>
          <ac:spMkLst>
            <pc:docMk/>
            <pc:sldMk cId="2512034743" sldId="695"/>
            <ac:spMk id="15" creationId="{3A7AD0DA-6657-45AD-BE48-F242D4C2FB06}"/>
          </ac:spMkLst>
        </pc:spChg>
        <pc:spChg chg="add del">
          <ac:chgData name="Yakov Pakhomov" userId="857a8f7002735771" providerId="LiveId" clId="{77711C24-CE86-4310-83AB-2BFC8187209E}" dt="2018-11-16T08:35:28.847" v="28464" actId="478"/>
          <ac:spMkLst>
            <pc:docMk/>
            <pc:sldMk cId="2512034743" sldId="695"/>
            <ac:spMk id="16" creationId="{F0ADC78D-3E25-4A19-995F-D5C48B7E0F75}"/>
          </ac:spMkLst>
        </pc:spChg>
        <pc:spChg chg="add">
          <ac:chgData name="Yakov Pakhomov" userId="857a8f7002735771" providerId="LiveId" clId="{77711C24-CE86-4310-83AB-2BFC8187209E}" dt="2018-11-16T08:35:29.184" v="28465"/>
          <ac:spMkLst>
            <pc:docMk/>
            <pc:sldMk cId="2512034743" sldId="695"/>
            <ac:spMk id="17" creationId="{8982FD96-E406-42FC-BEC2-586BB5B0F346}"/>
          </ac:spMkLst>
        </pc:spChg>
        <pc:graphicFrameChg chg="add mod ord">
          <ac:chgData name="Yakov Pakhomov" userId="857a8f7002735771" providerId="LiveId" clId="{77711C24-CE86-4310-83AB-2BFC8187209E}" dt="2018-11-14T20:14:17.385" v="3566"/>
          <ac:graphicFrameMkLst>
            <pc:docMk/>
            <pc:sldMk cId="2512034743" sldId="695"/>
            <ac:graphicFrameMk id="5" creationId="{7C6C356C-A6A7-4FA5-AF2E-D17D40896C41}"/>
          </ac:graphicFrameMkLst>
        </pc:graphicFrameChg>
        <pc:picChg chg="add mod">
          <ac:chgData name="Yakov Pakhomov" userId="857a8f7002735771" providerId="LiveId" clId="{77711C24-CE86-4310-83AB-2BFC8187209E}" dt="2018-11-14T21:02:37.233" v="4530" actId="1076"/>
          <ac:picMkLst>
            <pc:docMk/>
            <pc:sldMk cId="2512034743" sldId="695"/>
            <ac:picMk id="8" creationId="{B6C3DF4E-AAC1-40F9-9755-81D3C4738C95}"/>
          </ac:picMkLst>
        </pc:picChg>
      </pc:sldChg>
      <pc:sldChg chg="addSp delSp modSp add">
        <pc:chgData name="Yakov Pakhomov" userId="857a8f7002735771" providerId="LiveId" clId="{77711C24-CE86-4310-83AB-2BFC8187209E}" dt="2018-11-16T08:35:42.008" v="28471"/>
        <pc:sldMkLst>
          <pc:docMk/>
          <pc:sldMk cId="957474793" sldId="696"/>
        </pc:sldMkLst>
        <pc:spChg chg="mod">
          <ac:chgData name="Yakov Pakhomov" userId="857a8f7002735771" providerId="LiveId" clId="{77711C24-CE86-4310-83AB-2BFC8187209E}" dt="2018-11-14T20:21:33.410" v="3826" actId="255"/>
          <ac:spMkLst>
            <pc:docMk/>
            <pc:sldMk cId="957474793" sldId="696"/>
            <ac:spMk id="5" creationId="{3BE62C44-EFDE-4267-95E2-B2B67E5B7A1C}"/>
          </ac:spMkLst>
        </pc:spChg>
        <pc:spChg chg="add del">
          <ac:chgData name="Yakov Pakhomov" userId="857a8f7002735771" providerId="LiveId" clId="{77711C24-CE86-4310-83AB-2BFC8187209E}" dt="2018-11-14T20:23:06.367" v="3866"/>
          <ac:spMkLst>
            <pc:docMk/>
            <pc:sldMk cId="957474793" sldId="696"/>
            <ac:spMk id="7" creationId="{B7C9C23B-F140-47D5-B2D9-8D467C140D18}"/>
          </ac:spMkLst>
        </pc:spChg>
        <pc:spChg chg="mod">
          <ac:chgData name="Yakov Pakhomov" userId="857a8f7002735771" providerId="LiveId" clId="{77711C24-CE86-4310-83AB-2BFC8187209E}" dt="2018-11-14T20:59:16.016" v="4462" actId="14100"/>
          <ac:spMkLst>
            <pc:docMk/>
            <pc:sldMk cId="957474793" sldId="696"/>
            <ac:spMk id="8" creationId="{22ED6E39-C484-4C2E-AAAC-028D99C01419}"/>
          </ac:spMkLst>
        </pc:spChg>
        <pc:spChg chg="mod">
          <ac:chgData name="Yakov Pakhomov" userId="857a8f7002735771" providerId="LiveId" clId="{77711C24-CE86-4310-83AB-2BFC8187209E}" dt="2018-11-14T20:23:59.900" v="3887" actId="120"/>
          <ac:spMkLst>
            <pc:docMk/>
            <pc:sldMk cId="957474793" sldId="696"/>
            <ac:spMk id="9" creationId="{D542315E-66FD-4B88-86DA-CA1B3352F5C9}"/>
          </ac:spMkLst>
        </pc:spChg>
        <pc:spChg chg="mod">
          <ac:chgData name="Yakov Pakhomov" userId="857a8f7002735771" providerId="LiveId" clId="{77711C24-CE86-4310-83AB-2BFC8187209E}" dt="2018-11-14T21:11:38.864" v="4669" actId="20577"/>
          <ac:spMkLst>
            <pc:docMk/>
            <pc:sldMk cId="957474793" sldId="696"/>
            <ac:spMk id="10" creationId="{4CF3A554-30F7-4A94-BA67-75ACF9156933}"/>
          </ac:spMkLst>
        </pc:spChg>
        <pc:spChg chg="add mod">
          <ac:chgData name="Yakov Pakhomov" userId="857a8f7002735771" providerId="LiveId" clId="{77711C24-CE86-4310-83AB-2BFC8187209E}" dt="2018-11-14T20:24:05.601" v="3888" actId="1076"/>
          <ac:spMkLst>
            <pc:docMk/>
            <pc:sldMk cId="957474793" sldId="696"/>
            <ac:spMk id="47" creationId="{878975E7-D77A-4771-95C3-8115B398EA73}"/>
          </ac:spMkLst>
        </pc:spChg>
        <pc:spChg chg="mod">
          <ac:chgData name="Yakov Pakhomov" userId="857a8f7002735771" providerId="LiveId" clId="{77711C24-CE86-4310-83AB-2BFC8187209E}" dt="2018-11-14T20:21:31.261" v="3823" actId="6549"/>
          <ac:spMkLst>
            <pc:docMk/>
            <pc:sldMk cId="957474793" sldId="696"/>
            <ac:spMk id="49" creationId="{F82216C4-ABE1-4A2D-82A6-68AFF130D44D}"/>
          </ac:spMkLst>
        </pc:spChg>
        <pc:spChg chg="add del mod">
          <ac:chgData name="Yakov Pakhomov" userId="857a8f7002735771" providerId="LiveId" clId="{77711C24-CE86-4310-83AB-2BFC8187209E}" dt="2018-11-16T08:35:41.639" v="28470" actId="478"/>
          <ac:spMkLst>
            <pc:docMk/>
            <pc:sldMk cId="957474793" sldId="696"/>
            <ac:spMk id="76" creationId="{D8771DC1-5E9C-4C1D-B06C-6DC7C8CF389B}"/>
          </ac:spMkLst>
        </pc:spChg>
        <pc:spChg chg="add">
          <ac:chgData name="Yakov Pakhomov" userId="857a8f7002735771" providerId="LiveId" clId="{77711C24-CE86-4310-83AB-2BFC8187209E}" dt="2018-11-16T08:35:42.008" v="28471"/>
          <ac:spMkLst>
            <pc:docMk/>
            <pc:sldMk cId="957474793" sldId="696"/>
            <ac:spMk id="77" creationId="{3E236A9C-6815-4384-A695-59B0F05CD865}"/>
          </ac:spMkLst>
        </pc:spChg>
        <pc:spChg chg="del">
          <ac:chgData name="Yakov Pakhomov" userId="857a8f7002735771" providerId="LiveId" clId="{77711C24-CE86-4310-83AB-2BFC8187209E}" dt="2018-11-14T20:18:28.503" v="3573" actId="478"/>
          <ac:spMkLst>
            <pc:docMk/>
            <pc:sldMk cId="957474793" sldId="696"/>
            <ac:spMk id="77" creationId="{8FBB6C59-1EA1-4ECE-A008-DE56D974FE69}"/>
          </ac:spMkLst>
        </pc:spChg>
        <pc:spChg chg="mod">
          <ac:chgData name="Yakov Pakhomov" userId="857a8f7002735771" providerId="LiveId" clId="{77711C24-CE86-4310-83AB-2BFC8187209E}" dt="2018-11-14T20:22:35.729" v="3864" actId="20577"/>
          <ac:spMkLst>
            <pc:docMk/>
            <pc:sldMk cId="957474793" sldId="696"/>
            <ac:spMk id="91" creationId="{F4C78569-0450-427B-9562-0674FA9CFC75}"/>
          </ac:spMkLst>
        </pc:spChg>
        <pc:spChg chg="mod">
          <ac:chgData name="Yakov Pakhomov" userId="857a8f7002735771" providerId="LiveId" clId="{77711C24-CE86-4310-83AB-2BFC8187209E}" dt="2018-11-14T20:22:16.483" v="3862" actId="207"/>
          <ac:spMkLst>
            <pc:docMk/>
            <pc:sldMk cId="957474793" sldId="696"/>
            <ac:spMk id="101" creationId="{55B59379-07A8-4630-BCA7-2C9D723DE47C}"/>
          </ac:spMkLst>
        </pc:spChg>
        <pc:graphicFrameChg chg="mod">
          <ac:chgData name="Yakov Pakhomov" userId="857a8f7002735771" providerId="LiveId" clId="{77711C24-CE86-4310-83AB-2BFC8187209E}" dt="2018-11-14T20:21:31.268" v="3825"/>
          <ac:graphicFrameMkLst>
            <pc:docMk/>
            <pc:sldMk cId="957474793" sldId="696"/>
            <ac:graphicFrameMk id="6" creationId="{16132C83-6F9F-4D12-BB44-4F22374DE0A9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6T08:35:33.303" v="28467"/>
        <pc:sldMkLst>
          <pc:docMk/>
          <pc:sldMk cId="3022403851" sldId="697"/>
        </pc:sldMkLst>
        <pc:spChg chg="del">
          <ac:chgData name="Yakov Pakhomov" userId="857a8f7002735771" providerId="LiveId" clId="{77711C24-CE86-4310-83AB-2BFC8187209E}" dt="2018-11-14T20:29:53.046" v="3989" actId="478"/>
          <ac:spMkLst>
            <pc:docMk/>
            <pc:sldMk cId="3022403851" sldId="697"/>
            <ac:spMk id="2" creationId="{D9FB95E8-8317-433F-A5CF-B071128DFCDB}"/>
          </ac:spMkLst>
        </pc:spChg>
        <pc:spChg chg="add del">
          <ac:chgData name="Yakov Pakhomov" userId="857a8f7002735771" providerId="LiveId" clId="{77711C24-CE86-4310-83AB-2BFC8187209E}" dt="2018-11-14T20:39:20.166" v="4012"/>
          <ac:spMkLst>
            <pc:docMk/>
            <pc:sldMk cId="3022403851" sldId="697"/>
            <ac:spMk id="3" creationId="{42034E9E-096C-48C0-8FB4-E0E84E931113}"/>
          </ac:spMkLst>
        </pc:spChg>
        <pc:spChg chg="mod">
          <ac:chgData name="Yakov Pakhomov" userId="857a8f7002735771" providerId="LiveId" clId="{77711C24-CE86-4310-83AB-2BFC8187209E}" dt="2018-11-14T20:20:22.120" v="3648" actId="20577"/>
          <ac:spMkLst>
            <pc:docMk/>
            <pc:sldMk cId="3022403851" sldId="697"/>
            <ac:spMk id="4" creationId="{A1B34355-66E5-4ED9-84D9-063B1DB58FC8}"/>
          </ac:spMkLst>
        </pc:spChg>
        <pc:spChg chg="add del mod">
          <ac:chgData name="Yakov Pakhomov" userId="857a8f7002735771" providerId="LiveId" clId="{77711C24-CE86-4310-83AB-2BFC8187209E}" dt="2018-11-14T20:41:00.072" v="4041"/>
          <ac:spMkLst>
            <pc:docMk/>
            <pc:sldMk cId="3022403851" sldId="697"/>
            <ac:spMk id="6" creationId="{C02E38F5-B2FD-4ACC-8DF7-4A60E68965D1}"/>
          </ac:spMkLst>
        </pc:spChg>
        <pc:spChg chg="mod">
          <ac:chgData name="Yakov Pakhomov" userId="857a8f7002735771" providerId="LiveId" clId="{77711C24-CE86-4310-83AB-2BFC8187209E}" dt="2018-11-14T20:20:20.524" v="3645" actId="6549"/>
          <ac:spMkLst>
            <pc:docMk/>
            <pc:sldMk cId="3022403851" sldId="697"/>
            <ac:spMk id="7" creationId="{D694981E-5870-47D9-81E4-B7718BDC8A5A}"/>
          </ac:spMkLst>
        </pc:spChg>
        <pc:spChg chg="del">
          <ac:chgData name="Yakov Pakhomov" userId="857a8f7002735771" providerId="LiveId" clId="{77711C24-CE86-4310-83AB-2BFC8187209E}" dt="2018-11-14T20:18:23.662" v="3571" actId="478"/>
          <ac:spMkLst>
            <pc:docMk/>
            <pc:sldMk cId="3022403851" sldId="697"/>
            <ac:spMk id="9" creationId="{BA0E3384-9EB5-4EBC-AFFF-8BE6C2C43030}"/>
          </ac:spMkLst>
        </pc:spChg>
        <pc:spChg chg="mod">
          <ac:chgData name="Yakov Pakhomov" userId="857a8f7002735771" providerId="LiveId" clId="{77711C24-CE86-4310-83AB-2BFC8187209E}" dt="2018-11-14T20:41:14.773" v="4044" actId="14100"/>
          <ac:spMkLst>
            <pc:docMk/>
            <pc:sldMk cId="3022403851" sldId="697"/>
            <ac:spMk id="10" creationId="{1AB948B4-78DC-40E0-9AF3-E5F156CD984D}"/>
          </ac:spMkLst>
        </pc:spChg>
        <pc:spChg chg="mod">
          <ac:chgData name="Yakov Pakhomov" userId="857a8f7002735771" providerId="LiveId" clId="{77711C24-CE86-4310-83AB-2BFC8187209E}" dt="2018-11-14T20:35:19.050" v="4010" actId="1076"/>
          <ac:spMkLst>
            <pc:docMk/>
            <pc:sldMk cId="3022403851" sldId="697"/>
            <ac:spMk id="12" creationId="{83D63245-5FA3-4F61-84EA-CBE4146E4582}"/>
          </ac:spMkLst>
        </pc:spChg>
        <pc:spChg chg="mod">
          <ac:chgData name="Yakov Pakhomov" userId="857a8f7002735771" providerId="LiveId" clId="{77711C24-CE86-4310-83AB-2BFC8187209E}" dt="2018-11-14T20:45:16.270" v="4058"/>
          <ac:spMkLst>
            <pc:docMk/>
            <pc:sldMk cId="3022403851" sldId="697"/>
            <ac:spMk id="13" creationId="{2D699C19-A083-4253-9187-083EDF77C10B}"/>
          </ac:spMkLst>
        </pc:spChg>
        <pc:spChg chg="mod">
          <ac:chgData name="Yakov Pakhomov" userId="857a8f7002735771" providerId="LiveId" clId="{77711C24-CE86-4310-83AB-2BFC8187209E}" dt="2018-11-14T20:48:31.494" v="4292" actId="6549"/>
          <ac:spMkLst>
            <pc:docMk/>
            <pc:sldMk cId="3022403851" sldId="697"/>
            <ac:spMk id="16" creationId="{6B687018-3EDE-4141-9FE6-3C43FE478AE7}"/>
          </ac:spMkLst>
        </pc:spChg>
        <pc:spChg chg="del">
          <ac:chgData name="Yakov Pakhomov" userId="857a8f7002735771" providerId="LiveId" clId="{77711C24-CE86-4310-83AB-2BFC8187209E}" dt="2018-11-14T20:29:55.630" v="3990" actId="478"/>
          <ac:spMkLst>
            <pc:docMk/>
            <pc:sldMk cId="3022403851" sldId="697"/>
            <ac:spMk id="19" creationId="{9325DD5E-6DD6-49CB-A585-718EA5B71D14}"/>
          </ac:spMkLst>
        </pc:spChg>
        <pc:spChg chg="add del">
          <ac:chgData name="Yakov Pakhomov" userId="857a8f7002735771" providerId="LiveId" clId="{77711C24-CE86-4310-83AB-2BFC8187209E}" dt="2018-11-16T08:35:32.959" v="28466" actId="478"/>
          <ac:spMkLst>
            <pc:docMk/>
            <pc:sldMk cId="3022403851" sldId="697"/>
            <ac:spMk id="19" creationId="{C719F29C-D681-4BC4-A4C7-DCFF7B3D6A5E}"/>
          </ac:spMkLst>
        </pc:spChg>
        <pc:spChg chg="add del">
          <ac:chgData name="Yakov Pakhomov" userId="857a8f7002735771" providerId="LiveId" clId="{77711C24-CE86-4310-83AB-2BFC8187209E}" dt="2018-11-16T08:31:54.177" v="28139" actId="478"/>
          <ac:spMkLst>
            <pc:docMk/>
            <pc:sldMk cId="3022403851" sldId="697"/>
            <ac:spMk id="22" creationId="{B24524B2-2EAD-4958-AB0F-1FCC891ED74E}"/>
          </ac:spMkLst>
        </pc:spChg>
        <pc:spChg chg="add">
          <ac:chgData name="Yakov Pakhomov" userId="857a8f7002735771" providerId="LiveId" clId="{77711C24-CE86-4310-83AB-2BFC8187209E}" dt="2018-11-16T08:35:33.303" v="28467"/>
          <ac:spMkLst>
            <pc:docMk/>
            <pc:sldMk cId="3022403851" sldId="697"/>
            <ac:spMk id="23" creationId="{C816B5EE-7A08-48B6-9475-09B4EDFE0A49}"/>
          </ac:spMkLst>
        </pc:spChg>
        <pc:graphicFrameChg chg="mod">
          <ac:chgData name="Yakov Pakhomov" userId="857a8f7002735771" providerId="LiveId" clId="{77711C24-CE86-4310-83AB-2BFC8187209E}" dt="2018-11-14T20:20:22.618" v="3650"/>
          <ac:graphicFrameMkLst>
            <pc:docMk/>
            <pc:sldMk cId="3022403851" sldId="697"/>
            <ac:graphicFrameMk id="5" creationId="{BED4C92E-0FA6-4563-A75F-872CA5A9551F}"/>
          </ac:graphicFrameMkLst>
        </pc:graphicFrameChg>
      </pc:sldChg>
      <pc:sldChg chg="addSp delSp modSp add ord modNotesTx">
        <pc:chgData name="Yakov Pakhomov" userId="857a8f7002735771" providerId="LiveId" clId="{77711C24-CE86-4310-83AB-2BFC8187209E}" dt="2018-11-16T08:35:38.134" v="28469"/>
        <pc:sldMkLst>
          <pc:docMk/>
          <pc:sldMk cId="742435933" sldId="698"/>
        </pc:sldMkLst>
        <pc:spChg chg="mod">
          <ac:chgData name="Yakov Pakhomov" userId="857a8f7002735771" providerId="LiveId" clId="{77711C24-CE86-4310-83AB-2BFC8187209E}" dt="2018-11-14T20:25:56.121" v="3912" actId="1076"/>
          <ac:spMkLst>
            <pc:docMk/>
            <pc:sldMk cId="742435933" sldId="698"/>
            <ac:spMk id="2" creationId="{EB3798CE-4F05-4239-91F0-9C81DB3C3272}"/>
          </ac:spMkLst>
        </pc:spChg>
        <pc:spChg chg="mod">
          <ac:chgData name="Yakov Pakhomov" userId="857a8f7002735771" providerId="LiveId" clId="{77711C24-CE86-4310-83AB-2BFC8187209E}" dt="2018-11-14T20:21:38.986" v="3828"/>
          <ac:spMkLst>
            <pc:docMk/>
            <pc:sldMk cId="742435933" sldId="698"/>
            <ac:spMk id="5" creationId="{3BE62C44-EFDE-4267-95E2-B2B67E5B7A1C}"/>
          </ac:spMkLst>
        </pc:spChg>
        <pc:spChg chg="mod">
          <ac:chgData name="Yakov Pakhomov" userId="857a8f7002735771" providerId="LiveId" clId="{77711C24-CE86-4310-83AB-2BFC8187209E}" dt="2018-11-14T20:27:20.431" v="3934" actId="6549"/>
          <ac:spMkLst>
            <pc:docMk/>
            <pc:sldMk cId="742435933" sldId="698"/>
            <ac:spMk id="11" creationId="{72A93149-630B-4D19-9BDA-A02A025282F6}"/>
          </ac:spMkLst>
        </pc:spChg>
        <pc:spChg chg="mod">
          <ac:chgData name="Yakov Pakhomov" userId="857a8f7002735771" providerId="LiveId" clId="{77711C24-CE86-4310-83AB-2BFC8187209E}" dt="2018-11-14T20:21:39.521" v="3857" actId="6549"/>
          <ac:spMkLst>
            <pc:docMk/>
            <pc:sldMk cId="742435933" sldId="698"/>
            <ac:spMk id="17" creationId="{72859110-7514-4131-B96B-D373F3131F3B}"/>
          </ac:spMkLst>
        </pc:spChg>
        <pc:spChg chg="del">
          <ac:chgData name="Yakov Pakhomov" userId="857a8f7002735771" providerId="LiveId" clId="{77711C24-CE86-4310-83AB-2BFC8187209E}" dt="2018-11-14T20:18:18.918" v="3569" actId="478"/>
          <ac:spMkLst>
            <pc:docMk/>
            <pc:sldMk cId="742435933" sldId="698"/>
            <ac:spMk id="21" creationId="{04D2E320-DBAF-4E27-B6F9-BB7F507279B6}"/>
          </ac:spMkLst>
        </pc:spChg>
        <pc:spChg chg="add del">
          <ac:chgData name="Yakov Pakhomov" userId="857a8f7002735771" providerId="LiveId" clId="{77711C24-CE86-4310-83AB-2BFC8187209E}" dt="2018-11-16T08:35:37.727" v="28468" actId="478"/>
          <ac:spMkLst>
            <pc:docMk/>
            <pc:sldMk cId="742435933" sldId="698"/>
            <ac:spMk id="21" creationId="{724C125E-24C6-49E1-8924-5A9C8A7383BA}"/>
          </ac:spMkLst>
        </pc:spChg>
        <pc:spChg chg="add del">
          <ac:chgData name="Yakov Pakhomov" userId="857a8f7002735771" providerId="LiveId" clId="{77711C24-CE86-4310-83AB-2BFC8187209E}" dt="2018-11-16T08:31:49.303" v="28137" actId="478"/>
          <ac:spMkLst>
            <pc:docMk/>
            <pc:sldMk cId="742435933" sldId="698"/>
            <ac:spMk id="22" creationId="{2378D175-9AC2-4B9C-876F-6FF795A4ADA7}"/>
          </ac:spMkLst>
        </pc:spChg>
        <pc:spChg chg="del">
          <ac:chgData name="Yakov Pakhomov" userId="857a8f7002735771" providerId="LiveId" clId="{77711C24-CE86-4310-83AB-2BFC8187209E}" dt="2018-11-14T20:27:23.705" v="3935" actId="478"/>
          <ac:spMkLst>
            <pc:docMk/>
            <pc:sldMk cId="742435933" sldId="698"/>
            <ac:spMk id="24" creationId="{DB7FCD11-DD3E-4E07-8007-7D6529DDD6B9}"/>
          </ac:spMkLst>
        </pc:spChg>
        <pc:spChg chg="add">
          <ac:chgData name="Yakov Pakhomov" userId="857a8f7002735771" providerId="LiveId" clId="{77711C24-CE86-4310-83AB-2BFC8187209E}" dt="2018-11-16T08:35:38.134" v="28469"/>
          <ac:spMkLst>
            <pc:docMk/>
            <pc:sldMk cId="742435933" sldId="698"/>
            <ac:spMk id="24" creationId="{E731CAC6-B8CE-4E25-AD3A-00B2A11A8573}"/>
          </ac:spMkLst>
        </pc:spChg>
        <pc:graphicFrameChg chg="mod">
          <ac:chgData name="Yakov Pakhomov" userId="857a8f7002735771" providerId="LiveId" clId="{77711C24-CE86-4310-83AB-2BFC8187209E}" dt="2018-11-14T20:21:39.527" v="3859"/>
          <ac:graphicFrameMkLst>
            <pc:docMk/>
            <pc:sldMk cId="742435933" sldId="698"/>
            <ac:graphicFrameMk id="6" creationId="{16132C83-6F9F-4D12-BB44-4F22374DE0A9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6T08:35:24.720" v="28463"/>
        <pc:sldMkLst>
          <pc:docMk/>
          <pc:sldMk cId="1755639983" sldId="699"/>
        </pc:sldMkLst>
        <pc:spChg chg="add del">
          <ac:chgData name="Yakov Pakhomov" userId="857a8f7002735771" providerId="LiveId" clId="{77711C24-CE86-4310-83AB-2BFC8187209E}" dt="2018-11-14T20:55:50.142" v="4409"/>
          <ac:spMkLst>
            <pc:docMk/>
            <pc:sldMk cId="1755639983" sldId="699"/>
            <ac:spMk id="3" creationId="{DDCD63D5-613B-411A-B1DF-8ACEBA7B4CDB}"/>
          </ac:spMkLst>
        </pc:spChg>
        <pc:spChg chg="add mod">
          <ac:chgData name="Yakov Pakhomov" userId="857a8f7002735771" providerId="LiveId" clId="{77711C24-CE86-4310-83AB-2BFC8187209E}" dt="2018-11-14T21:02:42.584" v="4531" actId="1076"/>
          <ac:spMkLst>
            <pc:docMk/>
            <pc:sldMk cId="1755639983" sldId="699"/>
            <ac:spMk id="6" creationId="{8BD9A167-F506-40B6-8105-125D71EADA2D}"/>
          </ac:spMkLst>
        </pc:spChg>
        <pc:spChg chg="del">
          <ac:chgData name="Yakov Pakhomov" userId="857a8f7002735771" providerId="LiveId" clId="{77711C24-CE86-4310-83AB-2BFC8187209E}" dt="2018-11-16T08:32:03.262" v="28143" actId="478"/>
          <ac:spMkLst>
            <pc:docMk/>
            <pc:sldMk cId="1755639983" sldId="699"/>
            <ac:spMk id="7" creationId="{EF73A8AA-0438-4CCA-AA19-52DF0F9B20E4}"/>
          </ac:spMkLst>
        </pc:spChg>
        <pc:spChg chg="add del">
          <ac:chgData name="Yakov Pakhomov" userId="857a8f7002735771" providerId="LiveId" clId="{77711C24-CE86-4310-83AB-2BFC8187209E}" dt="2018-11-16T08:35:24.305" v="28462" actId="478"/>
          <ac:spMkLst>
            <pc:docMk/>
            <pc:sldMk cId="1755639983" sldId="699"/>
            <ac:spMk id="8" creationId="{47CB5009-8B91-44D3-875D-B4920ADDE3AA}"/>
          </ac:spMkLst>
        </pc:spChg>
        <pc:spChg chg="add mod">
          <ac:chgData name="Yakov Pakhomov" userId="857a8f7002735771" providerId="LiveId" clId="{77711C24-CE86-4310-83AB-2BFC8187209E}" dt="2018-11-14T20:54:39.325" v="4406" actId="14100"/>
          <ac:spMkLst>
            <pc:docMk/>
            <pc:sldMk cId="1755639983" sldId="699"/>
            <ac:spMk id="9" creationId="{EC125219-0D5D-4CB4-8F94-F6808432C58F}"/>
          </ac:spMkLst>
        </pc:spChg>
        <pc:spChg chg="add del">
          <ac:chgData name="Yakov Pakhomov" userId="857a8f7002735771" providerId="LiveId" clId="{77711C24-CE86-4310-83AB-2BFC8187209E}" dt="2018-11-14T21:01:01.426" v="4503"/>
          <ac:spMkLst>
            <pc:docMk/>
            <pc:sldMk cId="1755639983" sldId="699"/>
            <ac:spMk id="10" creationId="{9ED879E1-58C8-471F-87FA-CC76B13B7C86}"/>
          </ac:spMkLst>
        </pc:spChg>
        <pc:spChg chg="add">
          <ac:chgData name="Yakov Pakhomov" userId="857a8f7002735771" providerId="LiveId" clId="{77711C24-CE86-4310-83AB-2BFC8187209E}" dt="2018-11-16T08:35:24.720" v="28463"/>
          <ac:spMkLst>
            <pc:docMk/>
            <pc:sldMk cId="1755639983" sldId="699"/>
            <ac:spMk id="10" creationId="{FD210669-9820-4187-B005-A405EFD10D4F}"/>
          </ac:spMkLst>
        </pc:spChg>
        <pc:spChg chg="add del mod">
          <ac:chgData name="Yakov Pakhomov" userId="857a8f7002735771" providerId="LiveId" clId="{77711C24-CE86-4310-83AB-2BFC8187209E}" dt="2018-11-14T21:02:27.277" v="4529" actId="478"/>
          <ac:spMkLst>
            <pc:docMk/>
            <pc:sldMk cId="1755639983" sldId="699"/>
            <ac:spMk id="11" creationId="{301734E3-E179-475A-BD6D-FBC9B4B4455F}"/>
          </ac:spMkLst>
        </pc:spChg>
        <pc:picChg chg="add mod">
          <ac:chgData name="Yakov Pakhomov" userId="857a8f7002735771" providerId="LiveId" clId="{77711C24-CE86-4310-83AB-2BFC8187209E}" dt="2018-11-14T21:02:42.584" v="4531" actId="1076"/>
          <ac:picMkLst>
            <pc:docMk/>
            <pc:sldMk cId="1755639983" sldId="699"/>
            <ac:picMk id="2" creationId="{3BFF421A-E319-4A65-A85B-537EE908CA36}"/>
          </ac:picMkLst>
        </pc:picChg>
        <pc:picChg chg="del">
          <ac:chgData name="Yakov Pakhomov" userId="857a8f7002735771" providerId="LiveId" clId="{77711C24-CE86-4310-83AB-2BFC8187209E}" dt="2018-11-14T20:51:57.366" v="4296" actId="478"/>
          <ac:picMkLst>
            <pc:docMk/>
            <pc:sldMk cId="1755639983" sldId="699"/>
            <ac:picMk id="8" creationId="{B6C3DF4E-AAC1-40F9-9755-81D3C4738C95}"/>
          </ac:picMkLst>
        </pc:picChg>
      </pc:sldChg>
      <pc:sldChg chg="addSp delSp modSp add">
        <pc:chgData name="Yakov Pakhomov" userId="857a8f7002735771" providerId="LiveId" clId="{77711C24-CE86-4310-83AB-2BFC8187209E}" dt="2018-11-16T08:35:19.862" v="28461"/>
        <pc:sldMkLst>
          <pc:docMk/>
          <pc:sldMk cId="1635624604" sldId="700"/>
        </pc:sldMkLst>
        <pc:spChg chg="del">
          <ac:chgData name="Yakov Pakhomov" userId="857a8f7002735771" providerId="LiveId" clId="{77711C24-CE86-4310-83AB-2BFC8187209E}" dt="2018-11-14T21:05:37.576" v="4534" actId="478"/>
          <ac:spMkLst>
            <pc:docMk/>
            <pc:sldMk cId="1635624604" sldId="700"/>
            <ac:spMk id="6" creationId="{8BD9A167-F506-40B6-8105-125D71EADA2D}"/>
          </ac:spMkLst>
        </pc:spChg>
        <pc:spChg chg="del">
          <ac:chgData name="Yakov Pakhomov" userId="857a8f7002735771" providerId="LiveId" clId="{77711C24-CE86-4310-83AB-2BFC8187209E}" dt="2018-11-16T08:32:07.887" v="28145" actId="478"/>
          <ac:spMkLst>
            <pc:docMk/>
            <pc:sldMk cId="1635624604" sldId="700"/>
            <ac:spMk id="7" creationId="{EF73A8AA-0438-4CCA-AA19-52DF0F9B20E4}"/>
          </ac:spMkLst>
        </pc:spChg>
        <pc:spChg chg="add del">
          <ac:chgData name="Yakov Pakhomov" userId="857a8f7002735771" providerId="LiveId" clId="{77711C24-CE86-4310-83AB-2BFC8187209E}" dt="2018-11-16T08:35:19.503" v="28460" actId="478"/>
          <ac:spMkLst>
            <pc:docMk/>
            <pc:sldMk cId="1635624604" sldId="700"/>
            <ac:spMk id="9" creationId="{14232862-176C-405C-92FD-59458447E177}"/>
          </ac:spMkLst>
        </pc:spChg>
        <pc:spChg chg="del">
          <ac:chgData name="Yakov Pakhomov" userId="857a8f7002735771" providerId="LiveId" clId="{77711C24-CE86-4310-83AB-2BFC8187209E}" dt="2018-11-14T21:05:39.828" v="4535" actId="478"/>
          <ac:spMkLst>
            <pc:docMk/>
            <pc:sldMk cId="1635624604" sldId="700"/>
            <ac:spMk id="9" creationId="{EC125219-0D5D-4CB4-8F94-F6808432C58F}"/>
          </ac:spMkLst>
        </pc:spChg>
        <pc:spChg chg="add">
          <ac:chgData name="Yakov Pakhomov" userId="857a8f7002735771" providerId="LiveId" clId="{77711C24-CE86-4310-83AB-2BFC8187209E}" dt="2018-11-16T08:35:19.862" v="28461"/>
          <ac:spMkLst>
            <pc:docMk/>
            <pc:sldMk cId="1635624604" sldId="700"/>
            <ac:spMk id="10" creationId="{CFD186AE-669F-4D67-ADF2-F0D36A87F17A}"/>
          </ac:spMkLst>
        </pc:spChg>
        <pc:graphicFrameChg chg="add mod modGraphic">
          <ac:chgData name="Yakov Pakhomov" userId="857a8f7002735771" providerId="LiveId" clId="{77711C24-CE86-4310-83AB-2BFC8187209E}" dt="2018-11-15T14:44:44.039" v="28103" actId="14734"/>
          <ac:graphicFrameMkLst>
            <pc:docMk/>
            <pc:sldMk cId="1635624604" sldId="700"/>
            <ac:graphicFrameMk id="8" creationId="{F72369CF-09C8-4FDE-922A-FC9E9681DD73}"/>
          </ac:graphicFrameMkLst>
        </pc:graphicFrameChg>
        <pc:picChg chg="del">
          <ac:chgData name="Yakov Pakhomov" userId="857a8f7002735771" providerId="LiveId" clId="{77711C24-CE86-4310-83AB-2BFC8187209E}" dt="2018-11-14T21:05:35.552" v="4533" actId="478"/>
          <ac:picMkLst>
            <pc:docMk/>
            <pc:sldMk cId="1635624604" sldId="700"/>
            <ac:picMk id="2" creationId="{3BFF421A-E319-4A65-A85B-537EE908CA36}"/>
          </ac:picMkLst>
        </pc:picChg>
        <pc:picChg chg="add mod">
          <ac:chgData name="Yakov Pakhomov" userId="857a8f7002735771" providerId="LiveId" clId="{77711C24-CE86-4310-83AB-2BFC8187209E}" dt="2018-11-14T21:05:47.862" v="4538" actId="1076"/>
          <ac:picMkLst>
            <pc:docMk/>
            <pc:sldMk cId="1635624604" sldId="700"/>
            <ac:picMk id="3" creationId="{1E0E5803-4E8F-44C1-81CE-5288064E7489}"/>
          </ac:picMkLst>
        </pc:picChg>
      </pc:sldChg>
      <pc:sldChg chg="addSp delSp modSp add">
        <pc:chgData name="Yakov Pakhomov" userId="857a8f7002735771" providerId="LiveId" clId="{77711C24-CE86-4310-83AB-2BFC8187209E}" dt="2018-11-16T08:35:01.407" v="28454"/>
        <pc:sldMkLst>
          <pc:docMk/>
          <pc:sldMk cId="2244371414" sldId="701"/>
        </pc:sldMkLst>
        <pc:spChg chg="add mod">
          <ac:chgData name="Yakov Pakhomov" userId="857a8f7002735771" providerId="LiveId" clId="{77711C24-CE86-4310-83AB-2BFC8187209E}" dt="2018-11-14T21:23:31.696" v="4816" actId="1076"/>
          <ac:spMkLst>
            <pc:docMk/>
            <pc:sldMk cId="2244371414" sldId="701"/>
            <ac:spMk id="2" creationId="{4FFE4114-C5DC-40AE-B973-CCA5C1E780E5}"/>
          </ac:spMkLst>
        </pc:spChg>
        <pc:spChg chg="add del">
          <ac:chgData name="Yakov Pakhomov" userId="857a8f7002735771" providerId="LiveId" clId="{77711C24-CE86-4310-83AB-2BFC8187209E}" dt="2018-11-16T08:35:01.055" v="28453" actId="478"/>
          <ac:spMkLst>
            <pc:docMk/>
            <pc:sldMk cId="2244371414" sldId="701"/>
            <ac:spMk id="6" creationId="{D59A3956-09C7-4326-96C7-5B6016F07AF2}"/>
          </ac:spMkLst>
        </pc:spChg>
        <pc:spChg chg="del">
          <ac:chgData name="Yakov Pakhomov" userId="857a8f7002735771" providerId="LiveId" clId="{77711C24-CE86-4310-83AB-2BFC8187209E}" dt="2018-11-16T08:32:27.264" v="28152" actId="478"/>
          <ac:spMkLst>
            <pc:docMk/>
            <pc:sldMk cId="2244371414" sldId="701"/>
            <ac:spMk id="7" creationId="{EF73A8AA-0438-4CCA-AA19-52DF0F9B20E4}"/>
          </ac:spMkLst>
        </pc:spChg>
        <pc:spChg chg="add">
          <ac:chgData name="Yakov Pakhomov" userId="857a8f7002735771" providerId="LiveId" clId="{77711C24-CE86-4310-83AB-2BFC8187209E}" dt="2018-11-16T08:35:01.407" v="28454"/>
          <ac:spMkLst>
            <pc:docMk/>
            <pc:sldMk cId="2244371414" sldId="701"/>
            <ac:spMk id="8" creationId="{5F6E3FAF-3A3D-4162-95E8-21E1F6F2A678}"/>
          </ac:spMkLst>
        </pc:spChg>
        <pc:picChg chg="del">
          <ac:chgData name="Yakov Pakhomov" userId="857a8f7002735771" providerId="LiveId" clId="{77711C24-CE86-4310-83AB-2BFC8187209E}" dt="2018-11-14T21:06:32.798" v="4540" actId="478"/>
          <ac:picMkLst>
            <pc:docMk/>
            <pc:sldMk cId="2244371414" sldId="701"/>
            <ac:picMk id="3" creationId="{1E0E5803-4E8F-44C1-81CE-5288064E7489}"/>
          </ac:picMkLst>
        </pc:picChg>
      </pc:sldChg>
      <pc:sldChg chg="addSp delSp modSp add">
        <pc:chgData name="Yakov Pakhomov" userId="857a8f7002735771" providerId="LiveId" clId="{77711C24-CE86-4310-83AB-2BFC8187209E}" dt="2018-11-16T08:34:56.800" v="28452"/>
        <pc:sldMkLst>
          <pc:docMk/>
          <pc:sldMk cId="2844524864" sldId="702"/>
        </pc:sldMkLst>
        <pc:spChg chg="del">
          <ac:chgData name="Yakov Pakhomov" userId="857a8f7002735771" providerId="LiveId" clId="{77711C24-CE86-4310-83AB-2BFC8187209E}" dt="2018-11-14T21:09:08.208" v="4629" actId="478"/>
          <ac:spMkLst>
            <pc:docMk/>
            <pc:sldMk cId="2844524864" sldId="702"/>
            <ac:spMk id="2" creationId="{4FFE4114-C5DC-40AE-B973-CCA5C1E780E5}"/>
          </ac:spMkLst>
        </pc:spChg>
        <pc:spChg chg="add del">
          <ac:chgData name="Yakov Pakhomov" userId="857a8f7002735771" providerId="LiveId" clId="{77711C24-CE86-4310-83AB-2BFC8187209E}" dt="2018-11-14T21:16:27.012" v="4671"/>
          <ac:spMkLst>
            <pc:docMk/>
            <pc:sldMk cId="2844524864" sldId="702"/>
            <ac:spMk id="3" creationId="{6A9DF2CD-39B4-4BD6-8D7F-A440F4842715}"/>
          </ac:spMkLst>
        </pc:spChg>
        <pc:spChg chg="add mod">
          <ac:chgData name="Yakov Pakhomov" userId="857a8f7002735771" providerId="LiveId" clId="{77711C24-CE86-4310-83AB-2BFC8187209E}" dt="2018-11-14T21:24:23.173" v="4828"/>
          <ac:spMkLst>
            <pc:docMk/>
            <pc:sldMk cId="2844524864" sldId="702"/>
            <ac:spMk id="6" creationId="{E29B693E-6E41-476C-AF5F-55C585E566C4}"/>
          </ac:spMkLst>
        </pc:spChg>
        <pc:spChg chg="del">
          <ac:chgData name="Yakov Pakhomov" userId="857a8f7002735771" providerId="LiveId" clId="{77711C24-CE86-4310-83AB-2BFC8187209E}" dt="2018-11-16T08:32:32.024" v="28154" actId="478"/>
          <ac:spMkLst>
            <pc:docMk/>
            <pc:sldMk cId="2844524864" sldId="702"/>
            <ac:spMk id="7" creationId="{EF73A8AA-0438-4CCA-AA19-52DF0F9B20E4}"/>
          </ac:spMkLst>
        </pc:spChg>
        <pc:spChg chg="add del">
          <ac:chgData name="Yakov Pakhomov" userId="857a8f7002735771" providerId="LiveId" clId="{77711C24-CE86-4310-83AB-2BFC8187209E}" dt="2018-11-14T21:17:53.898" v="4743"/>
          <ac:spMkLst>
            <pc:docMk/>
            <pc:sldMk cId="2844524864" sldId="702"/>
            <ac:spMk id="8" creationId="{CE47EE55-6B1D-435E-92C0-AAEC0236918A}"/>
          </ac:spMkLst>
        </pc:spChg>
        <pc:spChg chg="add mod">
          <ac:chgData name="Yakov Pakhomov" userId="857a8f7002735771" providerId="LiveId" clId="{77711C24-CE86-4310-83AB-2BFC8187209E}" dt="2018-11-14T21:24:37.067" v="4833" actId="14100"/>
          <ac:spMkLst>
            <pc:docMk/>
            <pc:sldMk cId="2844524864" sldId="702"/>
            <ac:spMk id="9" creationId="{7906938D-A747-45D2-9E2D-0CEC7057EDC0}"/>
          </ac:spMkLst>
        </pc:spChg>
        <pc:spChg chg="add mod">
          <ac:chgData name="Yakov Pakhomov" userId="857a8f7002735771" providerId="LiveId" clId="{77711C24-CE86-4310-83AB-2BFC8187209E}" dt="2018-11-14T21:20:41.587" v="4789" actId="1076"/>
          <ac:spMkLst>
            <pc:docMk/>
            <pc:sldMk cId="2844524864" sldId="702"/>
            <ac:spMk id="10" creationId="{6A68DF7E-A8EE-424B-BDEC-0DD261760B91}"/>
          </ac:spMkLst>
        </pc:spChg>
        <pc:spChg chg="add mod">
          <ac:chgData name="Yakov Pakhomov" userId="857a8f7002735771" providerId="LiveId" clId="{77711C24-CE86-4310-83AB-2BFC8187209E}" dt="2018-11-14T21:24:33.636" v="4832" actId="14100"/>
          <ac:spMkLst>
            <pc:docMk/>
            <pc:sldMk cId="2844524864" sldId="702"/>
            <ac:spMk id="11" creationId="{C7220063-299F-452E-95DC-C6C231A7F12B}"/>
          </ac:spMkLst>
        </pc:spChg>
        <pc:spChg chg="add del">
          <ac:chgData name="Yakov Pakhomov" userId="857a8f7002735771" providerId="LiveId" clId="{77711C24-CE86-4310-83AB-2BFC8187209E}" dt="2018-11-16T08:34:56.390" v="28451" actId="478"/>
          <ac:spMkLst>
            <pc:docMk/>
            <pc:sldMk cId="2844524864" sldId="702"/>
            <ac:spMk id="12" creationId="{587AE690-4ACF-4F45-8A92-10242556E784}"/>
          </ac:spMkLst>
        </pc:spChg>
        <pc:spChg chg="add">
          <ac:chgData name="Yakov Pakhomov" userId="857a8f7002735771" providerId="LiveId" clId="{77711C24-CE86-4310-83AB-2BFC8187209E}" dt="2018-11-16T08:34:56.800" v="28452"/>
          <ac:spMkLst>
            <pc:docMk/>
            <pc:sldMk cId="2844524864" sldId="702"/>
            <ac:spMk id="13" creationId="{32114809-B4BE-4110-AEF8-434C63B91AF4}"/>
          </ac:spMkLst>
        </pc:spChg>
        <pc:picChg chg="add mod">
          <ac:chgData name="Yakov Pakhomov" userId="857a8f7002735771" providerId="LiveId" clId="{77711C24-CE86-4310-83AB-2BFC8187209E}" dt="2018-11-14T21:20:38.714" v="4788" actId="1076"/>
          <ac:picMkLst>
            <pc:docMk/>
            <pc:sldMk cId="2844524864" sldId="702"/>
            <ac:picMk id="9218" creationId="{2306CC53-02AD-41EF-9FD1-8066E9F771B1}"/>
          </ac:picMkLst>
        </pc:picChg>
      </pc:sldChg>
      <pc:sldChg chg="addSp delSp modSp add">
        <pc:chgData name="Yakov Pakhomov" userId="857a8f7002735771" providerId="LiveId" clId="{77711C24-CE86-4310-83AB-2BFC8187209E}" dt="2018-11-16T08:44:11.860" v="28599" actId="57"/>
        <pc:sldMkLst>
          <pc:docMk/>
          <pc:sldMk cId="40605256" sldId="703"/>
        </pc:sldMkLst>
        <pc:spChg chg="add del">
          <ac:chgData name="Yakov Pakhomov" userId="857a8f7002735771" providerId="LiveId" clId="{77711C24-CE86-4310-83AB-2BFC8187209E}" dt="2018-11-14T21:21:21.515" v="4793"/>
          <ac:spMkLst>
            <pc:docMk/>
            <pc:sldMk cId="40605256" sldId="703"/>
            <ac:spMk id="2" creationId="{56FCE715-B483-4FC8-9D70-B222D6C9E6FC}"/>
          </ac:spMkLst>
        </pc:spChg>
        <pc:spChg chg="add mod">
          <ac:chgData name="Yakov Pakhomov" userId="857a8f7002735771" providerId="LiveId" clId="{77711C24-CE86-4310-83AB-2BFC8187209E}" dt="2018-11-16T08:39:43.311" v="28532"/>
          <ac:spMkLst>
            <pc:docMk/>
            <pc:sldMk cId="40605256" sldId="703"/>
            <ac:spMk id="3" creationId="{EC66BEE5-46A4-4E6F-9C63-93559EC0E71F}"/>
          </ac:spMkLst>
        </pc:spChg>
        <pc:spChg chg="mod">
          <ac:chgData name="Yakov Pakhomov" userId="857a8f7002735771" providerId="LiveId" clId="{77711C24-CE86-4310-83AB-2BFC8187209E}" dt="2018-11-16T08:43:52.033" v="28590" actId="6549"/>
          <ac:spMkLst>
            <pc:docMk/>
            <pc:sldMk cId="40605256" sldId="703"/>
            <ac:spMk id="6" creationId="{E29B693E-6E41-476C-AF5F-55C585E566C4}"/>
          </ac:spMkLst>
        </pc:spChg>
        <pc:spChg chg="del">
          <ac:chgData name="Yakov Pakhomov" userId="857a8f7002735771" providerId="LiveId" clId="{77711C24-CE86-4310-83AB-2BFC8187209E}" dt="2018-11-16T08:32:36.694" v="28156" actId="478"/>
          <ac:spMkLst>
            <pc:docMk/>
            <pc:sldMk cId="40605256" sldId="703"/>
            <ac:spMk id="7" creationId="{EF73A8AA-0438-4CCA-AA19-52DF0F9B20E4}"/>
          </ac:spMkLst>
        </pc:spChg>
        <pc:spChg chg="mod">
          <ac:chgData name="Yakov Pakhomov" userId="857a8f7002735771" providerId="LiveId" clId="{77711C24-CE86-4310-83AB-2BFC8187209E}" dt="2018-11-16T08:44:11.860" v="28599" actId="57"/>
          <ac:spMkLst>
            <pc:docMk/>
            <pc:sldMk cId="40605256" sldId="703"/>
            <ac:spMk id="9" creationId="{7906938D-A747-45D2-9E2D-0CEC7057EDC0}"/>
          </ac:spMkLst>
        </pc:spChg>
        <pc:spChg chg="mod">
          <ac:chgData name="Yakov Pakhomov" userId="857a8f7002735771" providerId="LiveId" clId="{77711C24-CE86-4310-83AB-2BFC8187209E}" dt="2018-11-16T08:44:05.424" v="28597" actId="20577"/>
          <ac:spMkLst>
            <pc:docMk/>
            <pc:sldMk cId="40605256" sldId="703"/>
            <ac:spMk id="10" creationId="{6A68DF7E-A8EE-424B-BDEC-0DD261760B91}"/>
          </ac:spMkLst>
        </pc:spChg>
        <pc:spChg chg="add mod">
          <ac:chgData name="Yakov Pakhomov" userId="857a8f7002735771" providerId="LiveId" clId="{77711C24-CE86-4310-83AB-2BFC8187209E}" dt="2018-11-15T14:45:42.654" v="28107" actId="1076"/>
          <ac:spMkLst>
            <pc:docMk/>
            <pc:sldMk cId="40605256" sldId="703"/>
            <ac:spMk id="11" creationId="{F5F5D8BC-992A-4D41-9F03-244C1C26C947}"/>
          </ac:spMkLst>
        </pc:spChg>
        <pc:spChg chg="add del">
          <ac:chgData name="Yakov Pakhomov" userId="857a8f7002735771" providerId="LiveId" clId="{77711C24-CE86-4310-83AB-2BFC8187209E}" dt="2018-11-16T08:34:52.032" v="28449" actId="478"/>
          <ac:spMkLst>
            <pc:docMk/>
            <pc:sldMk cId="40605256" sldId="703"/>
            <ac:spMk id="12" creationId="{B31844A3-7873-4028-AC4F-AC8D67C2CA6C}"/>
          </ac:spMkLst>
        </pc:spChg>
        <pc:spChg chg="add">
          <ac:chgData name="Yakov Pakhomov" userId="857a8f7002735771" providerId="LiveId" clId="{77711C24-CE86-4310-83AB-2BFC8187209E}" dt="2018-11-16T08:34:52.619" v="28450"/>
          <ac:spMkLst>
            <pc:docMk/>
            <pc:sldMk cId="40605256" sldId="703"/>
            <ac:spMk id="13" creationId="{27DCE61F-5FB2-4154-95FA-6C55D2F1E6CD}"/>
          </ac:spMkLst>
        </pc:spChg>
        <pc:spChg chg="add del mod">
          <ac:chgData name="Yakov Pakhomov" userId="857a8f7002735771" providerId="LiveId" clId="{77711C24-CE86-4310-83AB-2BFC8187209E}" dt="2018-11-15T14:46:21.618" v="28118" actId="478"/>
          <ac:spMkLst>
            <pc:docMk/>
            <pc:sldMk cId="40605256" sldId="703"/>
            <ac:spMk id="13" creationId="{56B587C3-7EE3-488C-BCB1-6A338EF0876D}"/>
          </ac:spMkLst>
        </pc:spChg>
        <pc:spChg chg="add del mod">
          <ac:chgData name="Yakov Pakhomov" userId="857a8f7002735771" providerId="LiveId" clId="{77711C24-CE86-4310-83AB-2BFC8187209E}" dt="2018-11-16T08:42:25.646" v="28566" actId="478"/>
          <ac:spMkLst>
            <pc:docMk/>
            <pc:sldMk cId="40605256" sldId="703"/>
            <ac:spMk id="14" creationId="{5B9262EA-E2D6-4241-83CB-211097BC6C8C}"/>
          </ac:spMkLst>
        </pc:spChg>
        <pc:spChg chg="add del mod">
          <ac:chgData name="Yakov Pakhomov" userId="857a8f7002735771" providerId="LiveId" clId="{77711C24-CE86-4310-83AB-2BFC8187209E}" dt="2018-11-16T08:40:47.646" v="28546" actId="478"/>
          <ac:spMkLst>
            <pc:docMk/>
            <pc:sldMk cId="40605256" sldId="703"/>
            <ac:spMk id="15" creationId="{CFD398A7-67D8-40D3-BF54-878700066A92}"/>
          </ac:spMkLst>
        </pc:spChg>
        <pc:spChg chg="add del mod">
          <ac:chgData name="Yakov Pakhomov" userId="857a8f7002735771" providerId="LiveId" clId="{77711C24-CE86-4310-83AB-2BFC8187209E}" dt="2018-11-16T08:42:25.646" v="28566" actId="478"/>
          <ac:spMkLst>
            <pc:docMk/>
            <pc:sldMk cId="40605256" sldId="703"/>
            <ac:spMk id="17" creationId="{401DEBB6-4516-4D1B-B31D-666DC00101C0}"/>
          </ac:spMkLst>
        </pc:spChg>
        <pc:spChg chg="add mod">
          <ac:chgData name="Yakov Pakhomov" userId="857a8f7002735771" providerId="LiveId" clId="{77711C24-CE86-4310-83AB-2BFC8187209E}" dt="2018-11-16T08:41:10.322" v="28551" actId="1076"/>
          <ac:spMkLst>
            <pc:docMk/>
            <pc:sldMk cId="40605256" sldId="703"/>
            <ac:spMk id="19" creationId="{9BEA1D1D-79D5-4391-B3D8-62924A8BB968}"/>
          </ac:spMkLst>
        </pc:spChg>
        <pc:spChg chg="add del mod">
          <ac:chgData name="Yakov Pakhomov" userId="857a8f7002735771" providerId="LiveId" clId="{77711C24-CE86-4310-83AB-2BFC8187209E}" dt="2018-11-16T08:42:25.646" v="28566" actId="478"/>
          <ac:spMkLst>
            <pc:docMk/>
            <pc:sldMk cId="40605256" sldId="703"/>
            <ac:spMk id="20" creationId="{8E17A769-CE22-4D69-8936-DFCDB0866964}"/>
          </ac:spMkLst>
        </pc:spChg>
        <pc:spChg chg="add mod">
          <ac:chgData name="Yakov Pakhomov" userId="857a8f7002735771" providerId="LiveId" clId="{77711C24-CE86-4310-83AB-2BFC8187209E}" dt="2018-11-16T08:39:54.532" v="28537" actId="1076"/>
          <ac:spMkLst>
            <pc:docMk/>
            <pc:sldMk cId="40605256" sldId="703"/>
            <ac:spMk id="23" creationId="{6163F66B-C412-4C86-A85A-AEEF6B767D03}"/>
          </ac:spMkLst>
        </pc:spChg>
        <pc:spChg chg="add del mod">
          <ac:chgData name="Yakov Pakhomov" userId="857a8f7002735771" providerId="LiveId" clId="{77711C24-CE86-4310-83AB-2BFC8187209E}" dt="2018-11-16T08:42:16.696" v="28564" actId="478"/>
          <ac:spMkLst>
            <pc:docMk/>
            <pc:sldMk cId="40605256" sldId="703"/>
            <ac:spMk id="24" creationId="{8390BE35-7444-468A-8302-DE7ECF9D4774}"/>
          </ac:spMkLst>
        </pc:spChg>
        <pc:spChg chg="add del mod">
          <ac:chgData name="Yakov Pakhomov" userId="857a8f7002735771" providerId="LiveId" clId="{77711C24-CE86-4310-83AB-2BFC8187209E}" dt="2018-11-16T08:42:16.696" v="28564" actId="478"/>
          <ac:spMkLst>
            <pc:docMk/>
            <pc:sldMk cId="40605256" sldId="703"/>
            <ac:spMk id="25" creationId="{146C9FE1-5EA6-47D4-AAB0-D6E313E21684}"/>
          </ac:spMkLst>
        </pc:spChg>
        <pc:spChg chg="add del mod">
          <ac:chgData name="Yakov Pakhomov" userId="857a8f7002735771" providerId="LiveId" clId="{77711C24-CE86-4310-83AB-2BFC8187209E}" dt="2018-11-16T08:42:16.696" v="28564" actId="478"/>
          <ac:spMkLst>
            <pc:docMk/>
            <pc:sldMk cId="40605256" sldId="703"/>
            <ac:spMk id="26" creationId="{3D95F935-D879-40E7-8E51-8985FB887B4C}"/>
          </ac:spMkLst>
        </pc:spChg>
        <pc:spChg chg="add del mod">
          <ac:chgData name="Yakov Pakhomov" userId="857a8f7002735771" providerId="LiveId" clId="{77711C24-CE86-4310-83AB-2BFC8187209E}" dt="2018-11-16T08:42:36.166" v="28569" actId="478"/>
          <ac:spMkLst>
            <pc:docMk/>
            <pc:sldMk cId="40605256" sldId="703"/>
            <ac:spMk id="27" creationId="{C4023331-FE85-40B5-840D-D05C706685B9}"/>
          </ac:spMkLst>
        </pc:spChg>
        <pc:spChg chg="add del mod">
          <ac:chgData name="Yakov Pakhomov" userId="857a8f7002735771" providerId="LiveId" clId="{77711C24-CE86-4310-83AB-2BFC8187209E}" dt="2018-11-16T08:42:36.166" v="28569" actId="478"/>
          <ac:spMkLst>
            <pc:docMk/>
            <pc:sldMk cId="40605256" sldId="703"/>
            <ac:spMk id="28" creationId="{ECA02A61-11D8-4D6B-B30F-289FC13CF104}"/>
          </ac:spMkLst>
        </pc:spChg>
        <pc:spChg chg="add del mod">
          <ac:chgData name="Yakov Pakhomov" userId="857a8f7002735771" providerId="LiveId" clId="{77711C24-CE86-4310-83AB-2BFC8187209E}" dt="2018-11-16T08:42:36.166" v="28569" actId="478"/>
          <ac:spMkLst>
            <pc:docMk/>
            <pc:sldMk cId="40605256" sldId="703"/>
            <ac:spMk id="29" creationId="{5C833556-09C8-48DB-85A2-D725F3F63AC5}"/>
          </ac:spMkLst>
        </pc:spChg>
        <pc:spChg chg="add mod">
          <ac:chgData name="Yakov Pakhomov" userId="857a8f7002735771" providerId="LiveId" clId="{77711C24-CE86-4310-83AB-2BFC8187209E}" dt="2018-11-16T08:43:02.779" v="28573" actId="1076"/>
          <ac:spMkLst>
            <pc:docMk/>
            <pc:sldMk cId="40605256" sldId="703"/>
            <ac:spMk id="30" creationId="{EF4C4679-C648-4CF8-92BD-D49D8FDE1F93}"/>
          </ac:spMkLst>
        </pc:spChg>
        <pc:spChg chg="add mod">
          <ac:chgData name="Yakov Pakhomov" userId="857a8f7002735771" providerId="LiveId" clId="{77711C24-CE86-4310-83AB-2BFC8187209E}" dt="2018-11-16T08:43:02.779" v="28573" actId="1076"/>
          <ac:spMkLst>
            <pc:docMk/>
            <pc:sldMk cId="40605256" sldId="703"/>
            <ac:spMk id="31" creationId="{03A3625C-09A5-49A8-B617-EA5539C011E3}"/>
          </ac:spMkLst>
        </pc:spChg>
        <pc:spChg chg="add mod">
          <ac:chgData name="Yakov Pakhomov" userId="857a8f7002735771" providerId="LiveId" clId="{77711C24-CE86-4310-83AB-2BFC8187209E}" dt="2018-11-16T08:42:54.433" v="28572" actId="1076"/>
          <ac:spMkLst>
            <pc:docMk/>
            <pc:sldMk cId="40605256" sldId="703"/>
            <ac:spMk id="32" creationId="{F6266273-BAE9-4B23-918D-BE02977BE393}"/>
          </ac:spMkLst>
        </pc:spChg>
        <pc:spChg chg="add mod">
          <ac:chgData name="Yakov Pakhomov" userId="857a8f7002735771" providerId="LiveId" clId="{77711C24-CE86-4310-83AB-2BFC8187209E}" dt="2018-11-16T08:42:54.433" v="28572" actId="1076"/>
          <ac:spMkLst>
            <pc:docMk/>
            <pc:sldMk cId="40605256" sldId="703"/>
            <ac:spMk id="33" creationId="{14E94591-A4B3-4FF0-B747-15A9FD5965B9}"/>
          </ac:spMkLst>
        </pc:spChg>
        <pc:spChg chg="add mod">
          <ac:chgData name="Yakov Pakhomov" userId="857a8f7002735771" providerId="LiveId" clId="{77711C24-CE86-4310-83AB-2BFC8187209E}" dt="2018-11-16T08:42:42.816" v="28571" actId="1076"/>
          <ac:spMkLst>
            <pc:docMk/>
            <pc:sldMk cId="40605256" sldId="703"/>
            <ac:spMk id="34" creationId="{EE5AACC3-D1FE-4801-A38F-3E32D7431314}"/>
          </ac:spMkLst>
        </pc:spChg>
        <pc:spChg chg="add mod">
          <ac:chgData name="Yakov Pakhomov" userId="857a8f7002735771" providerId="LiveId" clId="{77711C24-CE86-4310-83AB-2BFC8187209E}" dt="2018-11-16T08:42:42.816" v="28571" actId="1076"/>
          <ac:spMkLst>
            <pc:docMk/>
            <pc:sldMk cId="40605256" sldId="703"/>
            <ac:spMk id="35" creationId="{77AA80B3-58F2-4F74-A721-08B8307BF6FC}"/>
          </ac:spMkLst>
        </pc:spChg>
        <pc:picChg chg="del">
          <ac:chgData name="Yakov Pakhomov" userId="857a8f7002735771" providerId="LiveId" clId="{77711C24-CE86-4310-83AB-2BFC8187209E}" dt="2018-11-14T21:21:08.592" v="4791" actId="478"/>
          <ac:picMkLst>
            <pc:docMk/>
            <pc:sldMk cId="40605256" sldId="703"/>
            <ac:picMk id="9218" creationId="{2306CC53-02AD-41EF-9FD1-8066E9F771B1}"/>
          </ac:picMkLst>
        </pc:picChg>
        <pc:cxnChg chg="add mod">
          <ac:chgData name="Yakov Pakhomov" userId="857a8f7002735771" providerId="LiveId" clId="{77711C24-CE86-4310-83AB-2BFC8187209E}" dt="2018-11-16T08:43:35.306" v="28581" actId="1076"/>
          <ac:cxnSpMkLst>
            <pc:docMk/>
            <pc:sldMk cId="40605256" sldId="703"/>
            <ac:cxnSpMk id="8" creationId="{12CD8F2F-D598-4D6E-ADF1-FA97DA226CBC}"/>
          </ac:cxnSpMkLst>
        </pc:cxnChg>
        <pc:cxnChg chg="add del mod">
          <ac:chgData name="Yakov Pakhomov" userId="857a8f7002735771" providerId="LiveId" clId="{77711C24-CE86-4310-83AB-2BFC8187209E}" dt="2018-11-15T14:45:52.978" v="28109" actId="478"/>
          <ac:cxnSpMkLst>
            <pc:docMk/>
            <pc:sldMk cId="40605256" sldId="703"/>
            <ac:cxnSpMk id="12" creationId="{0892B57B-165B-46BC-8856-87467A8192BC}"/>
          </ac:cxnSpMkLst>
        </pc:cxnChg>
        <pc:cxnChg chg="add mod">
          <ac:chgData name="Yakov Pakhomov" userId="857a8f7002735771" providerId="LiveId" clId="{77711C24-CE86-4310-83AB-2BFC8187209E}" dt="2018-11-16T08:39:39.036" v="28531" actId="14100"/>
          <ac:cxnSpMkLst>
            <pc:docMk/>
            <pc:sldMk cId="40605256" sldId="703"/>
            <ac:cxnSpMk id="16" creationId="{D9ADFB7C-0263-428E-95A8-36079E571899}"/>
          </ac:cxnSpMkLst>
        </pc:cxnChg>
        <pc:cxnChg chg="add mod">
          <ac:chgData name="Yakov Pakhomov" userId="857a8f7002735771" providerId="LiveId" clId="{77711C24-CE86-4310-83AB-2BFC8187209E}" dt="2018-11-16T08:43:14.690" v="28575" actId="1076"/>
          <ac:cxnSpMkLst>
            <pc:docMk/>
            <pc:sldMk cId="40605256" sldId="703"/>
            <ac:cxnSpMk id="36" creationId="{53056889-BF0C-4EFD-B0B7-E7995812D422}"/>
          </ac:cxnSpMkLst>
        </pc:cxnChg>
        <pc:cxnChg chg="add mod">
          <ac:chgData name="Yakov Pakhomov" userId="857a8f7002735771" providerId="LiveId" clId="{77711C24-CE86-4310-83AB-2BFC8187209E}" dt="2018-11-16T08:43:26.136" v="28578" actId="14100"/>
          <ac:cxnSpMkLst>
            <pc:docMk/>
            <pc:sldMk cId="40605256" sldId="703"/>
            <ac:cxnSpMk id="37" creationId="{163E2AFB-246A-44F9-BADE-0C655083C092}"/>
          </ac:cxnSpMkLst>
        </pc:cxnChg>
      </pc:sldChg>
      <pc:sldChg chg="addSp delSp modSp add">
        <pc:chgData name="Yakov Pakhomov" userId="857a8f7002735771" providerId="LiveId" clId="{77711C24-CE86-4310-83AB-2BFC8187209E}" dt="2018-11-16T08:44:36.148" v="28680"/>
        <pc:sldMkLst>
          <pc:docMk/>
          <pc:sldMk cId="3711444871" sldId="704"/>
        </pc:sldMkLst>
        <pc:spChg chg="mod ord">
          <ac:chgData name="Yakov Pakhomov" userId="857a8f7002735771" providerId="LiveId" clId="{77711C24-CE86-4310-83AB-2BFC8187209E}" dt="2018-11-16T08:44:36.123" v="28611"/>
          <ac:spMkLst>
            <pc:docMk/>
            <pc:sldMk cId="3711444871" sldId="704"/>
            <ac:spMk id="2" creationId="{FBC4F189-9F52-42CA-AB47-6A364257C4CE}"/>
          </ac:spMkLst>
        </pc:spChg>
        <pc:spChg chg="add mod ord">
          <ac:chgData name="Yakov Pakhomov" userId="857a8f7002735771" providerId="LiveId" clId="{77711C24-CE86-4310-83AB-2BFC8187209E}" dt="2018-11-16T08:44:36.133" v="28640"/>
          <ac:spMkLst>
            <pc:docMk/>
            <pc:sldMk cId="3711444871" sldId="704"/>
            <ac:spMk id="3" creationId="{A6B15770-7B13-4B5F-B61D-07835CDB5F9E}"/>
          </ac:spMkLst>
        </pc:spChg>
        <pc:spChg chg="add mod ord">
          <ac:chgData name="Yakov Pakhomov" userId="857a8f7002735771" providerId="LiveId" clId="{77711C24-CE86-4310-83AB-2BFC8187209E}" dt="2018-11-16T08:44:36.123" v="28609"/>
          <ac:spMkLst>
            <pc:docMk/>
            <pc:sldMk cId="3711444871" sldId="704"/>
            <ac:spMk id="4" creationId="{43C0EA99-62AB-44D0-A6E8-1728C9A79EC3}"/>
          </ac:spMkLst>
        </pc:spChg>
        <pc:spChg chg="add del mod ord">
          <ac:chgData name="Yakov Pakhomov" userId="857a8f7002735771" providerId="LiveId" clId="{77711C24-CE86-4310-83AB-2BFC8187209E}" dt="2018-11-14T21:28:26.009" v="5418"/>
          <ac:spMkLst>
            <pc:docMk/>
            <pc:sldMk cId="3711444871" sldId="704"/>
            <ac:spMk id="5" creationId="{A5657CE7-06E2-4BEB-B174-069772BB7060}"/>
          </ac:spMkLst>
        </pc:spChg>
        <pc:spChg chg="add del mod ord">
          <ac:chgData name="Yakov Pakhomov" userId="857a8f7002735771" providerId="LiveId" clId="{77711C24-CE86-4310-83AB-2BFC8187209E}" dt="2018-11-14T21:28:26.010" v="5420"/>
          <ac:spMkLst>
            <pc:docMk/>
            <pc:sldMk cId="3711444871" sldId="704"/>
            <ac:spMk id="6" creationId="{A59F0601-3B71-4B3F-802B-099EDD4A9C0E}"/>
          </ac:spMkLst>
        </pc:spChg>
        <pc:spChg chg="add mod ord">
          <ac:chgData name="Yakov Pakhomov" userId="857a8f7002735771" providerId="LiveId" clId="{77711C24-CE86-4310-83AB-2BFC8187209E}" dt="2018-11-16T08:44:36.141" v="28672"/>
          <ac:spMkLst>
            <pc:docMk/>
            <pc:sldMk cId="3711444871" sldId="704"/>
            <ac:spMk id="11" creationId="{FF271634-F974-44F2-A1B3-937B6DDBF0C8}"/>
          </ac:spMkLst>
        </pc:spChg>
        <pc:spChg chg="add mod ord">
          <ac:chgData name="Yakov Pakhomov" userId="857a8f7002735771" providerId="LiveId" clId="{77711C24-CE86-4310-83AB-2BFC8187209E}" dt="2018-11-16T08:44:36.140" v="28668"/>
          <ac:spMkLst>
            <pc:docMk/>
            <pc:sldMk cId="3711444871" sldId="704"/>
            <ac:spMk id="13" creationId="{055357E9-AEAE-4DBE-9030-07E9EB159822}"/>
          </ac:spMkLst>
        </pc:spChg>
        <pc:spChg chg="add mod ord">
          <ac:chgData name="Yakov Pakhomov" userId="857a8f7002735771" providerId="LiveId" clId="{77711C24-CE86-4310-83AB-2BFC8187209E}" dt="2018-11-16T08:44:36.142" v="28674"/>
          <ac:spMkLst>
            <pc:docMk/>
            <pc:sldMk cId="3711444871" sldId="704"/>
            <ac:spMk id="15" creationId="{F034B0CD-1FE1-46FF-A839-DAF134E6A1A1}"/>
          </ac:spMkLst>
        </pc:spChg>
        <pc:spChg chg="add mod ord">
          <ac:chgData name="Yakov Pakhomov" userId="857a8f7002735771" providerId="LiveId" clId="{77711C24-CE86-4310-83AB-2BFC8187209E}" dt="2018-11-16T08:44:36.141" v="28670"/>
          <ac:spMkLst>
            <pc:docMk/>
            <pc:sldMk cId="3711444871" sldId="704"/>
            <ac:spMk id="17" creationId="{B02AF6AE-D5A8-46D6-AF8B-8528CDC2ED4A}"/>
          </ac:spMkLst>
        </pc:spChg>
        <pc:spChg chg="add mod ord">
          <ac:chgData name="Yakov Pakhomov" userId="857a8f7002735771" providerId="LiveId" clId="{77711C24-CE86-4310-83AB-2BFC8187209E}" dt="2018-11-16T08:44:36.134" v="28642"/>
          <ac:spMkLst>
            <pc:docMk/>
            <pc:sldMk cId="3711444871" sldId="704"/>
            <ac:spMk id="20" creationId="{5851ABA7-A4F9-49C6-992A-05E6C7C93544}"/>
          </ac:spMkLst>
        </pc:spChg>
        <pc:spChg chg="add del mod ord">
          <ac:chgData name="Yakov Pakhomov" userId="857a8f7002735771" providerId="LiveId" clId="{77711C24-CE86-4310-83AB-2BFC8187209E}" dt="2018-11-14T21:30:42.715" v="5863"/>
          <ac:spMkLst>
            <pc:docMk/>
            <pc:sldMk cId="3711444871" sldId="704"/>
            <ac:spMk id="24" creationId="{912DFB57-F382-42F6-90E0-0F027AB7215E}"/>
          </ac:spMkLst>
        </pc:spChg>
        <pc:spChg chg="add del mod ord">
          <ac:chgData name="Yakov Pakhomov" userId="857a8f7002735771" providerId="LiveId" clId="{77711C24-CE86-4310-83AB-2BFC8187209E}" dt="2018-11-14T21:30:42.718" v="5867"/>
          <ac:spMkLst>
            <pc:docMk/>
            <pc:sldMk cId="3711444871" sldId="704"/>
            <ac:spMk id="25" creationId="{8EF5CB43-1F77-4D85-9F4F-6AC0ED5A2CF0}"/>
          </ac:spMkLst>
        </pc:spChg>
        <pc:spChg chg="add del mod ord">
          <ac:chgData name="Yakov Pakhomov" userId="857a8f7002735771" providerId="LiveId" clId="{77711C24-CE86-4310-83AB-2BFC8187209E}" dt="2018-11-14T21:30:42.721" v="5871"/>
          <ac:spMkLst>
            <pc:docMk/>
            <pc:sldMk cId="3711444871" sldId="704"/>
            <ac:spMk id="26" creationId="{B8B0D932-13F0-4AEA-A9C3-8FBE3812BFC3}"/>
          </ac:spMkLst>
        </pc:spChg>
        <pc:spChg chg="add del mod ord">
          <ac:chgData name="Yakov Pakhomov" userId="857a8f7002735771" providerId="LiveId" clId="{77711C24-CE86-4310-83AB-2BFC8187209E}" dt="2018-11-14T21:30:42.723" v="5875"/>
          <ac:spMkLst>
            <pc:docMk/>
            <pc:sldMk cId="3711444871" sldId="704"/>
            <ac:spMk id="27" creationId="{76A38DCA-8AC8-4006-B119-65AAC398EED1}"/>
          </ac:spMkLst>
        </pc:spChg>
        <pc:spChg chg="add del mod ord">
          <ac:chgData name="Yakov Pakhomov" userId="857a8f7002735771" providerId="LiveId" clId="{77711C24-CE86-4310-83AB-2BFC8187209E}" dt="2018-11-14T21:30:42.713" v="5861"/>
          <ac:spMkLst>
            <pc:docMk/>
            <pc:sldMk cId="3711444871" sldId="704"/>
            <ac:spMk id="29" creationId="{09ADEA3F-6FB4-437D-B6A6-A0B70745687B}"/>
          </ac:spMkLst>
        </pc:spChg>
        <pc:spChg chg="add del mod ord">
          <ac:chgData name="Yakov Pakhomov" userId="857a8f7002735771" providerId="LiveId" clId="{77711C24-CE86-4310-83AB-2BFC8187209E}" dt="2018-11-14T21:30:42.716" v="5865"/>
          <ac:spMkLst>
            <pc:docMk/>
            <pc:sldMk cId="3711444871" sldId="704"/>
            <ac:spMk id="30" creationId="{09A5DA3E-C0C1-4E45-A9D8-E22ABE13198D}"/>
          </ac:spMkLst>
        </pc:spChg>
        <pc:spChg chg="add del mod ord">
          <ac:chgData name="Yakov Pakhomov" userId="857a8f7002735771" providerId="LiveId" clId="{77711C24-CE86-4310-83AB-2BFC8187209E}" dt="2018-11-14T21:30:42.720" v="5869"/>
          <ac:spMkLst>
            <pc:docMk/>
            <pc:sldMk cId="3711444871" sldId="704"/>
            <ac:spMk id="31" creationId="{76A485CB-48AB-4365-BD05-12B1F2577138}"/>
          </ac:spMkLst>
        </pc:spChg>
        <pc:spChg chg="add del mod ord">
          <ac:chgData name="Yakov Pakhomov" userId="857a8f7002735771" providerId="LiveId" clId="{77711C24-CE86-4310-83AB-2BFC8187209E}" dt="2018-11-14T21:30:42.722" v="5873"/>
          <ac:spMkLst>
            <pc:docMk/>
            <pc:sldMk cId="3711444871" sldId="704"/>
            <ac:spMk id="32" creationId="{CE84FA99-E537-429A-BD1B-9BC74780BD3C}"/>
          </ac:spMkLst>
        </pc:spChg>
        <pc:spChg chg="add mod ord">
          <ac:chgData name="Yakov Pakhomov" userId="857a8f7002735771" providerId="LiveId" clId="{77711C24-CE86-4310-83AB-2BFC8187209E}" dt="2018-11-16T08:44:36.134" v="28644"/>
          <ac:spMkLst>
            <pc:docMk/>
            <pc:sldMk cId="3711444871" sldId="704"/>
            <ac:spMk id="36" creationId="{A9D62299-5A4E-406B-BE59-BA4FAD0BC007}"/>
          </ac:spMkLst>
        </pc:spChg>
        <pc:spChg chg="add del mod ord">
          <ac:chgData name="Yakov Pakhomov" userId="857a8f7002735771" providerId="LiveId" clId="{77711C24-CE86-4310-83AB-2BFC8187209E}" dt="2018-11-16T08:34:46.983" v="28447" actId="478"/>
          <ac:spMkLst>
            <pc:docMk/>
            <pc:sldMk cId="3711444871" sldId="704"/>
            <ac:spMk id="38" creationId="{D1ED9E9C-CF18-44BF-A05D-496413DB8440}"/>
          </ac:spMkLst>
        </pc:spChg>
        <pc:spChg chg="add mod ord">
          <ac:chgData name="Yakov Pakhomov" userId="857a8f7002735771" providerId="LiveId" clId="{77711C24-CE86-4310-83AB-2BFC8187209E}" dt="2018-11-16T08:44:36.133" v="28638"/>
          <ac:spMkLst>
            <pc:docMk/>
            <pc:sldMk cId="3711444871" sldId="704"/>
            <ac:spMk id="40" creationId="{6066CF0B-2DF4-4753-BB19-13F5A438332D}"/>
          </ac:spMkLst>
        </pc:spChg>
        <pc:spChg chg="add mod ord">
          <ac:chgData name="Yakov Pakhomov" userId="857a8f7002735771" providerId="LiveId" clId="{77711C24-CE86-4310-83AB-2BFC8187209E}" dt="2018-11-16T08:44:36.143" v="28678"/>
          <ac:spMkLst>
            <pc:docMk/>
            <pc:sldMk cId="3711444871" sldId="704"/>
            <ac:spMk id="41" creationId="{BACADB6E-9CA6-49C6-8DC1-2269EA42B88B}"/>
          </ac:spMkLst>
        </pc:spChg>
        <pc:spChg chg="add del">
          <ac:chgData name="Yakov Pakhomov" userId="857a8f7002735771" providerId="LiveId" clId="{77711C24-CE86-4310-83AB-2BFC8187209E}" dt="2018-11-14T21:33:45.349" v="6533"/>
          <ac:spMkLst>
            <pc:docMk/>
            <pc:sldMk cId="3711444871" sldId="704"/>
            <ac:spMk id="49" creationId="{9C21FB61-234E-4A2A-B6D6-6B9E189F9CD4}"/>
          </ac:spMkLst>
        </pc:spChg>
        <pc:spChg chg="add del mod ord">
          <ac:chgData name="Yakov Pakhomov" userId="857a8f7002735771" providerId="LiveId" clId="{77711C24-CE86-4310-83AB-2BFC8187209E}" dt="2018-11-14T21:35:36.068" v="8173" actId="478"/>
          <ac:spMkLst>
            <pc:docMk/>
            <pc:sldMk cId="3711444871" sldId="704"/>
            <ac:spMk id="50" creationId="{F13ABCC2-325B-48FB-BDB7-82BED6EADE8A}"/>
          </ac:spMkLst>
        </pc:spChg>
        <pc:spChg chg="add mod ord">
          <ac:chgData name="Yakov Pakhomov" userId="857a8f7002735771" providerId="LiveId" clId="{77711C24-CE86-4310-83AB-2BFC8187209E}" dt="2018-11-16T08:44:36.132" v="28636"/>
          <ac:spMkLst>
            <pc:docMk/>
            <pc:sldMk cId="3711444871" sldId="704"/>
            <ac:spMk id="53" creationId="{DDA92DBA-D172-4F4D-8227-42460ED8E78A}"/>
          </ac:spMkLst>
        </pc:spChg>
        <pc:spChg chg="add mod ord">
          <ac:chgData name="Yakov Pakhomov" userId="857a8f7002735771" providerId="LiveId" clId="{77711C24-CE86-4310-83AB-2BFC8187209E}" dt="2018-11-16T08:44:36.135" v="28648"/>
          <ac:spMkLst>
            <pc:docMk/>
            <pc:sldMk cId="3711444871" sldId="704"/>
            <ac:spMk id="55" creationId="{C7ACDAEE-B75C-4A45-8A6A-EE8C762BABD9}"/>
          </ac:spMkLst>
        </pc:spChg>
        <pc:spChg chg="add mod ord">
          <ac:chgData name="Yakov Pakhomov" userId="857a8f7002735771" providerId="LiveId" clId="{77711C24-CE86-4310-83AB-2BFC8187209E}" dt="2018-11-16T08:44:36.135" v="28646"/>
          <ac:spMkLst>
            <pc:docMk/>
            <pc:sldMk cId="3711444871" sldId="704"/>
            <ac:spMk id="56" creationId="{09730390-6C23-4E4F-861F-99A1ACF79C83}"/>
          </ac:spMkLst>
        </pc:spChg>
        <pc:spChg chg="add mod ord">
          <ac:chgData name="Yakov Pakhomov" userId="857a8f7002735771" providerId="LiveId" clId="{77711C24-CE86-4310-83AB-2BFC8187209E}" dt="2018-11-16T08:44:36.136" v="28650"/>
          <ac:spMkLst>
            <pc:docMk/>
            <pc:sldMk cId="3711444871" sldId="704"/>
            <ac:spMk id="57" creationId="{4E3A3AD7-03D4-4325-9A50-63B286DC7F96}"/>
          </ac:spMkLst>
        </pc:spChg>
        <pc:spChg chg="add mod ord">
          <ac:chgData name="Yakov Pakhomov" userId="857a8f7002735771" providerId="LiveId" clId="{77711C24-CE86-4310-83AB-2BFC8187209E}" dt="2018-11-16T08:44:36.136" v="28652"/>
          <ac:spMkLst>
            <pc:docMk/>
            <pc:sldMk cId="3711444871" sldId="704"/>
            <ac:spMk id="58" creationId="{DE7B880F-8B86-4600-AD9B-B1CD30F9A271}"/>
          </ac:spMkLst>
        </pc:spChg>
        <pc:spChg chg="add mod ord">
          <ac:chgData name="Yakov Pakhomov" userId="857a8f7002735771" providerId="LiveId" clId="{77711C24-CE86-4310-83AB-2BFC8187209E}" dt="2018-11-16T08:44:36.137" v="28654"/>
          <ac:spMkLst>
            <pc:docMk/>
            <pc:sldMk cId="3711444871" sldId="704"/>
            <ac:spMk id="59" creationId="{7CB1D61B-99C0-4548-B967-63DDA995848E}"/>
          </ac:spMkLst>
        </pc:spChg>
        <pc:spChg chg="add mod ord">
          <ac:chgData name="Yakov Pakhomov" userId="857a8f7002735771" providerId="LiveId" clId="{77711C24-CE86-4310-83AB-2BFC8187209E}" dt="2018-11-16T08:44:36.137" v="28656"/>
          <ac:spMkLst>
            <pc:docMk/>
            <pc:sldMk cId="3711444871" sldId="704"/>
            <ac:spMk id="60" creationId="{7F56258A-D6CD-478E-934E-F5D52732E251}"/>
          </ac:spMkLst>
        </pc:spChg>
        <pc:spChg chg="add mod ord">
          <ac:chgData name="Yakov Pakhomov" userId="857a8f7002735771" providerId="LiveId" clId="{77711C24-CE86-4310-83AB-2BFC8187209E}" dt="2018-11-16T08:44:36.138" v="28658"/>
          <ac:spMkLst>
            <pc:docMk/>
            <pc:sldMk cId="3711444871" sldId="704"/>
            <ac:spMk id="61" creationId="{DA070CCC-535B-40E4-847A-C5E88A2156E1}"/>
          </ac:spMkLst>
        </pc:spChg>
        <pc:spChg chg="add mod ord">
          <ac:chgData name="Yakov Pakhomov" userId="857a8f7002735771" providerId="LiveId" clId="{77711C24-CE86-4310-83AB-2BFC8187209E}" dt="2018-11-16T08:44:36.138" v="28660"/>
          <ac:spMkLst>
            <pc:docMk/>
            <pc:sldMk cId="3711444871" sldId="704"/>
            <ac:spMk id="68" creationId="{42CD2942-538E-4B5B-BCF7-B1D5ADBAC671}"/>
          </ac:spMkLst>
        </pc:spChg>
        <pc:spChg chg="add mod ord">
          <ac:chgData name="Yakov Pakhomov" userId="857a8f7002735771" providerId="LiveId" clId="{77711C24-CE86-4310-83AB-2BFC8187209E}" dt="2018-11-16T08:44:36.139" v="28662"/>
          <ac:spMkLst>
            <pc:docMk/>
            <pc:sldMk cId="3711444871" sldId="704"/>
            <ac:spMk id="77" creationId="{E7C495C3-CA1D-4976-83E3-59261F38112D}"/>
          </ac:spMkLst>
        </pc:spChg>
        <pc:spChg chg="add mod ord">
          <ac:chgData name="Yakov Pakhomov" userId="857a8f7002735771" providerId="LiveId" clId="{77711C24-CE86-4310-83AB-2BFC8187209E}" dt="2018-11-16T08:44:36.139" v="28664"/>
          <ac:spMkLst>
            <pc:docMk/>
            <pc:sldMk cId="3711444871" sldId="704"/>
            <ac:spMk id="88" creationId="{6F8CBAF7-D540-4A00-ADE1-FE5265C25EB9}"/>
          </ac:spMkLst>
        </pc:spChg>
        <pc:spChg chg="add mod ord">
          <ac:chgData name="Yakov Pakhomov" userId="857a8f7002735771" providerId="LiveId" clId="{77711C24-CE86-4310-83AB-2BFC8187209E}" dt="2018-11-16T08:44:36.140" v="28666"/>
          <ac:spMkLst>
            <pc:docMk/>
            <pc:sldMk cId="3711444871" sldId="704"/>
            <ac:spMk id="99" creationId="{5890E1E5-CDDF-4D86-B12A-4D8C1B632864}"/>
          </ac:spMkLst>
        </pc:spChg>
        <pc:spChg chg="add del">
          <ac:chgData name="Yakov Pakhomov" userId="857a8f7002735771" providerId="LiveId" clId="{77711C24-CE86-4310-83AB-2BFC8187209E}" dt="2018-11-14T21:45:16.920" v="11276"/>
          <ac:spMkLst>
            <pc:docMk/>
            <pc:sldMk cId="3711444871" sldId="704"/>
            <ac:spMk id="112" creationId="{E3DC34C3-EC50-438E-9AAB-E05FF997AF62}"/>
          </ac:spMkLst>
        </pc:spChg>
        <pc:spChg chg="add mod ord">
          <ac:chgData name="Yakov Pakhomov" userId="857a8f7002735771" providerId="LiveId" clId="{77711C24-CE86-4310-83AB-2BFC8187209E}" dt="2018-11-16T08:44:36.142" v="28676"/>
          <ac:spMkLst>
            <pc:docMk/>
            <pc:sldMk cId="3711444871" sldId="704"/>
            <ac:spMk id="113" creationId="{5A171FBA-B491-4DC4-A781-7990B2765C9D}"/>
          </ac:spMkLst>
        </pc:spChg>
        <pc:graphicFrameChg chg="add del mod">
          <ac:chgData name="Yakov Pakhomov" userId="857a8f7002735771" providerId="LiveId" clId="{77711C24-CE86-4310-83AB-2BFC8187209E}" dt="2018-11-14T21:27:55.832" v="5182"/>
          <ac:graphicFrameMkLst>
            <pc:docMk/>
            <pc:sldMk cId="3711444871" sldId="704"/>
            <ac:graphicFrameMk id="7" creationId="{87225CE1-EF7E-4CE1-84D3-468B291F42A7}"/>
          </ac:graphicFrameMkLst>
        </pc:graphicFrameChg>
        <pc:graphicFrameChg chg="add mod ord">
          <ac:chgData name="Yakov Pakhomov" userId="857a8f7002735771" providerId="LiveId" clId="{77711C24-CE86-4310-83AB-2BFC8187209E}" dt="2018-11-16T08:44:36.148" v="28680"/>
          <ac:graphicFrameMkLst>
            <pc:docMk/>
            <pc:sldMk cId="3711444871" sldId="704"/>
            <ac:graphicFrameMk id="8" creationId="{76F6ACFB-4902-4215-9D98-34843E286813}"/>
          </ac:graphicFrameMkLst>
        </pc:graphicFrameChg>
        <pc:graphicFrameChg chg="add del mod">
          <ac:chgData name="Yakov Pakhomov" userId="857a8f7002735771" providerId="LiveId" clId="{77711C24-CE86-4310-83AB-2BFC8187209E}" dt="2018-11-14T21:27:57.999" v="5203"/>
          <ac:graphicFrameMkLst>
            <pc:docMk/>
            <pc:sldMk cId="3711444871" sldId="704"/>
            <ac:graphicFrameMk id="9" creationId="{020FB168-B4CC-4D6D-B687-C7EF7CBFCECC}"/>
          </ac:graphicFrameMkLst>
        </pc:graphicFrameChg>
        <pc:graphicFrameChg chg="add del mod">
          <ac:chgData name="Yakov Pakhomov" userId="857a8f7002735771" providerId="LiveId" clId="{77711C24-CE86-4310-83AB-2BFC8187209E}" dt="2018-11-14T21:28:10.658" v="5287"/>
          <ac:graphicFrameMkLst>
            <pc:docMk/>
            <pc:sldMk cId="3711444871" sldId="704"/>
            <ac:graphicFrameMk id="10" creationId="{9F244D43-6EFA-45C9-8B07-9AD7298948DA}"/>
          </ac:graphicFrameMkLst>
        </pc:graphicFrameChg>
        <pc:graphicFrameChg chg="add del mod">
          <ac:chgData name="Yakov Pakhomov" userId="857a8f7002735771" providerId="LiveId" clId="{77711C24-CE86-4310-83AB-2BFC8187209E}" dt="2018-11-14T21:28:12.807" v="5333"/>
          <ac:graphicFrameMkLst>
            <pc:docMk/>
            <pc:sldMk cId="3711444871" sldId="704"/>
            <ac:graphicFrameMk id="12" creationId="{030822C0-0D0A-4DFA-990B-87694CED4885}"/>
          </ac:graphicFrameMkLst>
        </pc:graphicFrameChg>
        <pc:graphicFrameChg chg="add del mod">
          <ac:chgData name="Yakov Pakhomov" userId="857a8f7002735771" providerId="LiveId" clId="{77711C24-CE86-4310-83AB-2BFC8187209E}" dt="2018-11-14T21:28:22.541" v="5374"/>
          <ac:graphicFrameMkLst>
            <pc:docMk/>
            <pc:sldMk cId="3711444871" sldId="704"/>
            <ac:graphicFrameMk id="14" creationId="{C7D23B99-D01B-430B-9239-EA8DB5ADA1D3}"/>
          </ac:graphicFrameMkLst>
        </pc:graphicFrameChg>
        <pc:graphicFrameChg chg="add del mod">
          <ac:chgData name="Yakov Pakhomov" userId="857a8f7002735771" providerId="LiveId" clId="{77711C24-CE86-4310-83AB-2BFC8187209E}" dt="2018-11-14T21:28:26.027" v="5421"/>
          <ac:graphicFrameMkLst>
            <pc:docMk/>
            <pc:sldMk cId="3711444871" sldId="704"/>
            <ac:graphicFrameMk id="16" creationId="{7E765448-DA9C-4DF3-A157-8176E09FABE3}"/>
          </ac:graphicFrameMkLst>
        </pc:graphicFrameChg>
        <pc:graphicFrameChg chg="add del mod">
          <ac:chgData name="Yakov Pakhomov" userId="857a8f7002735771" providerId="LiveId" clId="{77711C24-CE86-4310-83AB-2BFC8187209E}" dt="2018-11-14T21:28:49.407" v="5483"/>
          <ac:graphicFrameMkLst>
            <pc:docMk/>
            <pc:sldMk cId="3711444871" sldId="704"/>
            <ac:graphicFrameMk id="18" creationId="{86A937F8-CDE6-4004-BF40-D8B95E2008F9}"/>
          </ac:graphicFrameMkLst>
        </pc:graphicFrameChg>
        <pc:graphicFrameChg chg="add del mod">
          <ac:chgData name="Yakov Pakhomov" userId="857a8f7002735771" providerId="LiveId" clId="{77711C24-CE86-4310-83AB-2BFC8187209E}" dt="2018-11-14T21:30:07.605" v="5532"/>
          <ac:graphicFrameMkLst>
            <pc:docMk/>
            <pc:sldMk cId="3711444871" sldId="704"/>
            <ac:graphicFrameMk id="19" creationId="{F259ABDE-05B7-4EE8-8BCC-C09C7D60C039}"/>
          </ac:graphicFrameMkLst>
        </pc:graphicFrameChg>
        <pc:graphicFrameChg chg="add del mod">
          <ac:chgData name="Yakov Pakhomov" userId="857a8f7002735771" providerId="LiveId" clId="{77711C24-CE86-4310-83AB-2BFC8187209E}" dt="2018-11-14T21:30:16.745" v="5585"/>
          <ac:graphicFrameMkLst>
            <pc:docMk/>
            <pc:sldMk cId="3711444871" sldId="704"/>
            <ac:graphicFrameMk id="21" creationId="{77DAB826-3EF9-4D0A-82AF-80D29E4B946C}"/>
          </ac:graphicFrameMkLst>
        </pc:graphicFrameChg>
        <pc:graphicFrameChg chg="add del mod">
          <ac:chgData name="Yakov Pakhomov" userId="857a8f7002735771" providerId="LiveId" clId="{77711C24-CE86-4310-83AB-2BFC8187209E}" dt="2018-11-14T21:30:30.610" v="5612"/>
          <ac:graphicFrameMkLst>
            <pc:docMk/>
            <pc:sldMk cId="3711444871" sldId="704"/>
            <ac:graphicFrameMk id="22" creationId="{2B198918-EE53-49EC-8AE4-4C60970F5703}"/>
          </ac:graphicFrameMkLst>
        </pc:graphicFrameChg>
        <pc:graphicFrameChg chg="add del mod">
          <ac:chgData name="Yakov Pakhomov" userId="857a8f7002735771" providerId="LiveId" clId="{77711C24-CE86-4310-83AB-2BFC8187209E}" dt="2018-11-14T21:30:41.789" v="5739"/>
          <ac:graphicFrameMkLst>
            <pc:docMk/>
            <pc:sldMk cId="3711444871" sldId="704"/>
            <ac:graphicFrameMk id="23" creationId="{D2012A64-92B7-4759-AF48-AABE02E2A736}"/>
          </ac:graphicFrameMkLst>
        </pc:graphicFrameChg>
        <pc:graphicFrameChg chg="add del mod">
          <ac:chgData name="Yakov Pakhomov" userId="857a8f7002735771" providerId="LiveId" clId="{77711C24-CE86-4310-83AB-2BFC8187209E}" dt="2018-11-14T21:30:42.746" v="5884"/>
          <ac:graphicFrameMkLst>
            <pc:docMk/>
            <pc:sldMk cId="3711444871" sldId="704"/>
            <ac:graphicFrameMk id="28" creationId="{D26FC276-0332-4FE1-B292-E65BC6BE6996}"/>
          </ac:graphicFrameMkLst>
        </pc:graphicFrameChg>
        <pc:graphicFrameChg chg="add del mod">
          <ac:chgData name="Yakov Pakhomov" userId="857a8f7002735771" providerId="LiveId" clId="{77711C24-CE86-4310-83AB-2BFC8187209E}" dt="2018-11-14T21:30:51.163" v="5927"/>
          <ac:graphicFrameMkLst>
            <pc:docMk/>
            <pc:sldMk cId="3711444871" sldId="704"/>
            <ac:graphicFrameMk id="33" creationId="{E7129F4C-FBF7-4109-95C6-E35378A96FD7}"/>
          </ac:graphicFrameMkLst>
        </pc:graphicFrameChg>
        <pc:graphicFrameChg chg="add del mod">
          <ac:chgData name="Yakov Pakhomov" userId="857a8f7002735771" providerId="LiveId" clId="{77711C24-CE86-4310-83AB-2BFC8187209E}" dt="2018-11-14T21:30:55.047" v="5954"/>
          <ac:graphicFrameMkLst>
            <pc:docMk/>
            <pc:sldMk cId="3711444871" sldId="704"/>
            <ac:graphicFrameMk id="34" creationId="{34DD3024-2E31-403B-85E9-A157E3EB2D81}"/>
          </ac:graphicFrameMkLst>
        </pc:graphicFrameChg>
        <pc:graphicFrameChg chg="add del mod">
          <ac:chgData name="Yakov Pakhomov" userId="857a8f7002735771" providerId="LiveId" clId="{77711C24-CE86-4310-83AB-2BFC8187209E}" dt="2018-11-14T21:31:21.015" v="6019"/>
          <ac:graphicFrameMkLst>
            <pc:docMk/>
            <pc:sldMk cId="3711444871" sldId="704"/>
            <ac:graphicFrameMk id="35" creationId="{FD237AAB-F8A6-4FED-84BF-0A036558395C}"/>
          </ac:graphicFrameMkLst>
        </pc:graphicFrameChg>
        <pc:graphicFrameChg chg="add del mod">
          <ac:chgData name="Yakov Pakhomov" userId="857a8f7002735771" providerId="LiveId" clId="{77711C24-CE86-4310-83AB-2BFC8187209E}" dt="2018-11-14T21:31:27.894" v="6074"/>
          <ac:graphicFrameMkLst>
            <pc:docMk/>
            <pc:sldMk cId="3711444871" sldId="704"/>
            <ac:graphicFrameMk id="37" creationId="{B9D12E30-640B-4945-B515-D630ECC39D5E}"/>
          </ac:graphicFrameMkLst>
        </pc:graphicFrameChg>
        <pc:graphicFrameChg chg="add del mod">
          <ac:chgData name="Yakov Pakhomov" userId="857a8f7002735771" providerId="LiveId" clId="{77711C24-CE86-4310-83AB-2BFC8187209E}" dt="2018-11-14T21:31:32.711" v="6103"/>
          <ac:graphicFrameMkLst>
            <pc:docMk/>
            <pc:sldMk cId="3711444871" sldId="704"/>
            <ac:graphicFrameMk id="38" creationId="{BC2B2550-889A-436E-A361-558DAAEEF767}"/>
          </ac:graphicFrameMkLst>
        </pc:graphicFrameChg>
        <pc:graphicFrameChg chg="add del mod">
          <ac:chgData name="Yakov Pakhomov" userId="857a8f7002735771" providerId="LiveId" clId="{77711C24-CE86-4310-83AB-2BFC8187209E}" dt="2018-11-14T21:31:41.619" v="6170"/>
          <ac:graphicFrameMkLst>
            <pc:docMk/>
            <pc:sldMk cId="3711444871" sldId="704"/>
            <ac:graphicFrameMk id="39" creationId="{7E33718F-8519-4C4D-99E3-660F9FE7325A}"/>
          </ac:graphicFrameMkLst>
        </pc:graphicFrameChg>
        <pc:graphicFrameChg chg="add del mod">
          <ac:chgData name="Yakov Pakhomov" userId="857a8f7002735771" providerId="LiveId" clId="{77711C24-CE86-4310-83AB-2BFC8187209E}" dt="2018-11-16T08:44:36.102" v="28600"/>
          <ac:graphicFrameMkLst>
            <pc:docMk/>
            <pc:sldMk cId="3711444871" sldId="704"/>
            <ac:graphicFrameMk id="39" creationId="{EDE6E956-34ED-4240-8280-D4EF2D5B976A}"/>
          </ac:graphicFrameMkLst>
        </pc:graphicFrameChg>
        <pc:graphicFrameChg chg="add del mod">
          <ac:chgData name="Yakov Pakhomov" userId="857a8f7002735771" providerId="LiveId" clId="{77711C24-CE86-4310-83AB-2BFC8187209E}" dt="2018-11-14T21:31:49.998" v="6227"/>
          <ac:graphicFrameMkLst>
            <pc:docMk/>
            <pc:sldMk cId="3711444871" sldId="704"/>
            <ac:graphicFrameMk id="41" creationId="{053F2D0C-7B83-4583-B52A-447195F9C1F2}"/>
          </ac:graphicFrameMkLst>
        </pc:graphicFrameChg>
        <pc:graphicFrameChg chg="add mod">
          <ac:chgData name="Yakov Pakhomov" userId="857a8f7002735771" providerId="LiveId" clId="{77711C24-CE86-4310-83AB-2BFC8187209E}" dt="2018-11-16T08:44:36.124" v="28612"/>
          <ac:graphicFrameMkLst>
            <pc:docMk/>
            <pc:sldMk cId="3711444871" sldId="704"/>
            <ac:graphicFrameMk id="42" creationId="{4CC18696-37DE-4173-B41E-D95A909BF1E0}"/>
          </ac:graphicFrameMkLst>
        </pc:graphicFrameChg>
        <pc:graphicFrameChg chg="add del mod">
          <ac:chgData name="Yakov Pakhomov" userId="857a8f7002735771" providerId="LiveId" clId="{77711C24-CE86-4310-83AB-2BFC8187209E}" dt="2018-11-14T21:31:55.949" v="6256"/>
          <ac:graphicFrameMkLst>
            <pc:docMk/>
            <pc:sldMk cId="3711444871" sldId="704"/>
            <ac:graphicFrameMk id="42" creationId="{A14346B5-129D-4405-A353-DE196B0F4B34}"/>
          </ac:graphicFrameMkLst>
        </pc:graphicFrameChg>
        <pc:graphicFrameChg chg="add del mod">
          <ac:chgData name="Yakov Pakhomov" userId="857a8f7002735771" providerId="LiveId" clId="{77711C24-CE86-4310-83AB-2BFC8187209E}" dt="2018-11-14T21:32:21.301" v="6322"/>
          <ac:graphicFrameMkLst>
            <pc:docMk/>
            <pc:sldMk cId="3711444871" sldId="704"/>
            <ac:graphicFrameMk id="43" creationId="{C03F2B98-F8D1-4FD8-A12F-3990353EC6DD}"/>
          </ac:graphicFrameMkLst>
        </pc:graphicFrameChg>
        <pc:graphicFrameChg chg="add del mod">
          <ac:chgData name="Yakov Pakhomov" userId="857a8f7002735771" providerId="LiveId" clId="{77711C24-CE86-4310-83AB-2BFC8187209E}" dt="2018-11-14T21:32:26.456" v="6372"/>
          <ac:graphicFrameMkLst>
            <pc:docMk/>
            <pc:sldMk cId="3711444871" sldId="704"/>
            <ac:graphicFrameMk id="44" creationId="{0A108567-7FF1-43A0-9EAB-D2D53075ED54}"/>
          </ac:graphicFrameMkLst>
        </pc:graphicFrameChg>
        <pc:graphicFrameChg chg="add del mod">
          <ac:chgData name="Yakov Pakhomov" userId="857a8f7002735771" providerId="LiveId" clId="{77711C24-CE86-4310-83AB-2BFC8187209E}" dt="2018-11-14T21:33:01.982" v="6431"/>
          <ac:graphicFrameMkLst>
            <pc:docMk/>
            <pc:sldMk cId="3711444871" sldId="704"/>
            <ac:graphicFrameMk id="45" creationId="{C2811983-EE06-45C1-9DDA-7EC0F70A4DA1}"/>
          </ac:graphicFrameMkLst>
        </pc:graphicFrameChg>
        <pc:graphicFrameChg chg="add del mod">
          <ac:chgData name="Yakov Pakhomov" userId="857a8f7002735771" providerId="LiveId" clId="{77711C24-CE86-4310-83AB-2BFC8187209E}" dt="2018-11-14T21:33:11.072" v="6472"/>
          <ac:graphicFrameMkLst>
            <pc:docMk/>
            <pc:sldMk cId="3711444871" sldId="704"/>
            <ac:graphicFrameMk id="46" creationId="{F1C22854-1094-44B4-BD3A-36D4224D46B0}"/>
          </ac:graphicFrameMkLst>
        </pc:graphicFrameChg>
        <pc:graphicFrameChg chg="add del mod">
          <ac:chgData name="Yakov Pakhomov" userId="857a8f7002735771" providerId="LiveId" clId="{77711C24-CE86-4310-83AB-2BFC8187209E}" dt="2018-11-14T21:33:24.644" v="6503"/>
          <ac:graphicFrameMkLst>
            <pc:docMk/>
            <pc:sldMk cId="3711444871" sldId="704"/>
            <ac:graphicFrameMk id="47" creationId="{A711B603-CD10-49F3-9B3C-9107178A9E1F}"/>
          </ac:graphicFrameMkLst>
        </pc:graphicFrameChg>
        <pc:graphicFrameChg chg="add del mod">
          <ac:chgData name="Yakov Pakhomov" userId="857a8f7002735771" providerId="LiveId" clId="{77711C24-CE86-4310-83AB-2BFC8187209E}" dt="2018-11-14T21:33:53.346" v="6568"/>
          <ac:graphicFrameMkLst>
            <pc:docMk/>
            <pc:sldMk cId="3711444871" sldId="704"/>
            <ac:graphicFrameMk id="48" creationId="{FC84331A-2DA7-4E18-A175-C4140C84DD32}"/>
          </ac:graphicFrameMkLst>
        </pc:graphicFrameChg>
        <pc:graphicFrameChg chg="add del mod">
          <ac:chgData name="Yakov Pakhomov" userId="857a8f7002735771" providerId="LiveId" clId="{77711C24-CE86-4310-83AB-2BFC8187209E}" dt="2018-11-14T21:33:55.333" v="6620"/>
          <ac:graphicFrameMkLst>
            <pc:docMk/>
            <pc:sldMk cId="3711444871" sldId="704"/>
            <ac:graphicFrameMk id="51" creationId="{6EF8413D-878D-4337-BDC1-E212A61774E6}"/>
          </ac:graphicFrameMkLst>
        </pc:graphicFrameChg>
        <pc:graphicFrameChg chg="add del mod">
          <ac:chgData name="Yakov Pakhomov" userId="857a8f7002735771" providerId="LiveId" clId="{77711C24-CE86-4310-83AB-2BFC8187209E}" dt="2018-11-14T21:34:03.572" v="6734"/>
          <ac:graphicFrameMkLst>
            <pc:docMk/>
            <pc:sldMk cId="3711444871" sldId="704"/>
            <ac:graphicFrameMk id="52" creationId="{F89F9C7B-2947-4B63-9D73-9A40C53C9CAD}"/>
          </ac:graphicFrameMkLst>
        </pc:graphicFrameChg>
        <pc:graphicFrameChg chg="add del mod">
          <ac:chgData name="Yakov Pakhomov" userId="857a8f7002735771" providerId="LiveId" clId="{77711C24-CE86-4310-83AB-2BFC8187209E}" dt="2018-11-14T21:34:07.201" v="7429"/>
          <ac:graphicFrameMkLst>
            <pc:docMk/>
            <pc:sldMk cId="3711444871" sldId="704"/>
            <ac:graphicFrameMk id="54" creationId="{2CEEAC35-6484-4455-AA8C-90A6051DFD1C}"/>
          </ac:graphicFrameMkLst>
        </pc:graphicFrameChg>
        <pc:graphicFrameChg chg="add del mod">
          <ac:chgData name="Yakov Pakhomov" userId="857a8f7002735771" providerId="LiveId" clId="{77711C24-CE86-4310-83AB-2BFC8187209E}" dt="2018-11-14T21:34:08.477" v="7476"/>
          <ac:graphicFrameMkLst>
            <pc:docMk/>
            <pc:sldMk cId="3711444871" sldId="704"/>
            <ac:graphicFrameMk id="62" creationId="{F9422EA0-992C-495D-9071-E23D6ED331E6}"/>
          </ac:graphicFrameMkLst>
        </pc:graphicFrameChg>
        <pc:graphicFrameChg chg="add del mod">
          <ac:chgData name="Yakov Pakhomov" userId="857a8f7002735771" providerId="LiveId" clId="{77711C24-CE86-4310-83AB-2BFC8187209E}" dt="2018-11-14T21:34:20.219" v="7822"/>
          <ac:graphicFrameMkLst>
            <pc:docMk/>
            <pc:sldMk cId="3711444871" sldId="704"/>
            <ac:graphicFrameMk id="63" creationId="{CA8586D9-AE56-4C8D-B4B5-B149A83F904F}"/>
          </ac:graphicFrameMkLst>
        </pc:graphicFrameChg>
        <pc:graphicFrameChg chg="add del mod">
          <ac:chgData name="Yakov Pakhomov" userId="857a8f7002735771" providerId="LiveId" clId="{77711C24-CE86-4310-83AB-2BFC8187209E}" dt="2018-11-14T21:34:24.785" v="7997"/>
          <ac:graphicFrameMkLst>
            <pc:docMk/>
            <pc:sldMk cId="3711444871" sldId="704"/>
            <ac:graphicFrameMk id="64" creationId="{8EF8C511-9D70-4C9B-ADFE-6D023E55771F}"/>
          </ac:graphicFrameMkLst>
        </pc:graphicFrameChg>
        <pc:graphicFrameChg chg="add del mod">
          <ac:chgData name="Yakov Pakhomov" userId="857a8f7002735771" providerId="LiveId" clId="{77711C24-CE86-4310-83AB-2BFC8187209E}" dt="2018-11-14T21:35:39.375" v="8255"/>
          <ac:graphicFrameMkLst>
            <pc:docMk/>
            <pc:sldMk cId="3711444871" sldId="704"/>
            <ac:graphicFrameMk id="65" creationId="{101867DB-A7A9-4F35-AD81-5A00D3DFC7A2}"/>
          </ac:graphicFrameMkLst>
        </pc:graphicFrameChg>
        <pc:graphicFrameChg chg="add del mod">
          <ac:chgData name="Yakov Pakhomov" userId="857a8f7002735771" providerId="LiveId" clId="{77711C24-CE86-4310-83AB-2BFC8187209E}" dt="2018-11-14T21:35:43.241" v="8392"/>
          <ac:graphicFrameMkLst>
            <pc:docMk/>
            <pc:sldMk cId="3711444871" sldId="704"/>
            <ac:graphicFrameMk id="66" creationId="{C078AB6D-B890-40B0-903B-C21FB6CEC31D}"/>
          </ac:graphicFrameMkLst>
        </pc:graphicFrameChg>
        <pc:graphicFrameChg chg="add del mod">
          <ac:chgData name="Yakov Pakhomov" userId="857a8f7002735771" providerId="LiveId" clId="{77711C24-CE86-4310-83AB-2BFC8187209E}" dt="2018-11-14T21:35:50.509" v="8549"/>
          <ac:graphicFrameMkLst>
            <pc:docMk/>
            <pc:sldMk cId="3711444871" sldId="704"/>
            <ac:graphicFrameMk id="67" creationId="{F3E78749-C8DA-4E3A-9A4A-185081754D14}"/>
          </ac:graphicFrameMkLst>
        </pc:graphicFrameChg>
        <pc:graphicFrameChg chg="add del mod">
          <ac:chgData name="Yakov Pakhomov" userId="857a8f7002735771" providerId="LiveId" clId="{77711C24-CE86-4310-83AB-2BFC8187209E}" dt="2018-11-14T21:35:55.748" v="8659"/>
          <ac:graphicFrameMkLst>
            <pc:docMk/>
            <pc:sldMk cId="3711444871" sldId="704"/>
            <ac:graphicFrameMk id="72" creationId="{24B54827-75CB-4292-BF7F-24C63F734C71}"/>
          </ac:graphicFrameMkLst>
        </pc:graphicFrameChg>
        <pc:graphicFrameChg chg="add del mod">
          <ac:chgData name="Yakov Pakhomov" userId="857a8f7002735771" providerId="LiveId" clId="{77711C24-CE86-4310-83AB-2BFC8187209E}" dt="2018-11-14T21:36:03.007" v="8748"/>
          <ac:graphicFrameMkLst>
            <pc:docMk/>
            <pc:sldMk cId="3711444871" sldId="704"/>
            <ac:graphicFrameMk id="74" creationId="{ECAA397E-9CF0-4FDE-B894-E3DAB40096AF}"/>
          </ac:graphicFrameMkLst>
        </pc:graphicFrameChg>
        <pc:graphicFrameChg chg="add del mod">
          <ac:chgData name="Yakov Pakhomov" userId="857a8f7002735771" providerId="LiveId" clId="{77711C24-CE86-4310-83AB-2BFC8187209E}" dt="2018-11-14T21:36:06.654" v="8829"/>
          <ac:graphicFrameMkLst>
            <pc:docMk/>
            <pc:sldMk cId="3711444871" sldId="704"/>
            <ac:graphicFrameMk id="75" creationId="{D0F22C7E-4DC1-49A5-8592-EA6DCF86BA19}"/>
          </ac:graphicFrameMkLst>
        </pc:graphicFrameChg>
        <pc:graphicFrameChg chg="add del mod">
          <ac:chgData name="Yakov Pakhomov" userId="857a8f7002735771" providerId="LiveId" clId="{77711C24-CE86-4310-83AB-2BFC8187209E}" dt="2018-11-14T21:36:23.083" v="8984"/>
          <ac:graphicFrameMkLst>
            <pc:docMk/>
            <pc:sldMk cId="3711444871" sldId="704"/>
            <ac:graphicFrameMk id="76" creationId="{1FA34774-FF20-4468-B7C3-8B0B630448DB}"/>
          </ac:graphicFrameMkLst>
        </pc:graphicFrameChg>
        <pc:graphicFrameChg chg="add del mod">
          <ac:chgData name="Yakov Pakhomov" userId="857a8f7002735771" providerId="LiveId" clId="{77711C24-CE86-4310-83AB-2BFC8187209E}" dt="2018-11-14T21:36:27.163" v="9083"/>
          <ac:graphicFrameMkLst>
            <pc:docMk/>
            <pc:sldMk cId="3711444871" sldId="704"/>
            <ac:graphicFrameMk id="81" creationId="{FA133F46-963E-4236-8D7B-54DB581ABEBB}"/>
          </ac:graphicFrameMkLst>
        </pc:graphicFrameChg>
        <pc:graphicFrameChg chg="add del mod">
          <ac:chgData name="Yakov Pakhomov" userId="857a8f7002735771" providerId="LiveId" clId="{77711C24-CE86-4310-83AB-2BFC8187209E}" dt="2018-11-14T21:36:29.907" v="9160"/>
          <ac:graphicFrameMkLst>
            <pc:docMk/>
            <pc:sldMk cId="3711444871" sldId="704"/>
            <ac:graphicFrameMk id="82" creationId="{957F4A9A-1AD1-4423-8209-94C56E74BD7F}"/>
          </ac:graphicFrameMkLst>
        </pc:graphicFrameChg>
        <pc:graphicFrameChg chg="add del mod">
          <ac:chgData name="Yakov Pakhomov" userId="857a8f7002735771" providerId="LiveId" clId="{77711C24-CE86-4310-83AB-2BFC8187209E}" dt="2018-11-14T21:36:34.517" v="9237"/>
          <ac:graphicFrameMkLst>
            <pc:docMk/>
            <pc:sldMk cId="3711444871" sldId="704"/>
            <ac:graphicFrameMk id="83" creationId="{53834147-D8ED-4852-9307-8E20429C5DB6}"/>
          </ac:graphicFrameMkLst>
        </pc:graphicFrameChg>
        <pc:graphicFrameChg chg="add del mod">
          <ac:chgData name="Yakov Pakhomov" userId="857a8f7002735771" providerId="LiveId" clId="{77711C24-CE86-4310-83AB-2BFC8187209E}" dt="2018-11-14T21:36:36.401" v="9318"/>
          <ac:graphicFrameMkLst>
            <pc:docMk/>
            <pc:sldMk cId="3711444871" sldId="704"/>
            <ac:graphicFrameMk id="84" creationId="{165890F3-8D6C-465B-85F9-FA453D350BC6}"/>
          </ac:graphicFrameMkLst>
        </pc:graphicFrameChg>
        <pc:graphicFrameChg chg="add del mod">
          <ac:chgData name="Yakov Pakhomov" userId="857a8f7002735771" providerId="LiveId" clId="{77711C24-CE86-4310-83AB-2BFC8187209E}" dt="2018-11-14T21:36:39.864" v="9398"/>
          <ac:graphicFrameMkLst>
            <pc:docMk/>
            <pc:sldMk cId="3711444871" sldId="704"/>
            <ac:graphicFrameMk id="85" creationId="{FF1E619A-61E3-4091-9346-02BE2460286F}"/>
          </ac:graphicFrameMkLst>
        </pc:graphicFrameChg>
        <pc:graphicFrameChg chg="add del mod">
          <ac:chgData name="Yakov Pakhomov" userId="857a8f7002735771" providerId="LiveId" clId="{77711C24-CE86-4310-83AB-2BFC8187209E}" dt="2018-11-14T21:36:49.224" v="9561"/>
          <ac:graphicFrameMkLst>
            <pc:docMk/>
            <pc:sldMk cId="3711444871" sldId="704"/>
            <ac:graphicFrameMk id="87" creationId="{B55F6718-D8B2-42B6-B370-B71B6AA5CEAC}"/>
          </ac:graphicFrameMkLst>
        </pc:graphicFrameChg>
        <pc:graphicFrameChg chg="add del mod">
          <ac:chgData name="Yakov Pakhomov" userId="857a8f7002735771" providerId="LiveId" clId="{77711C24-CE86-4310-83AB-2BFC8187209E}" dt="2018-11-14T21:36:52.947" v="9662"/>
          <ac:graphicFrameMkLst>
            <pc:docMk/>
            <pc:sldMk cId="3711444871" sldId="704"/>
            <ac:graphicFrameMk id="92" creationId="{62357792-5909-4F14-ABDC-2AA4BAAAB1BE}"/>
          </ac:graphicFrameMkLst>
        </pc:graphicFrameChg>
        <pc:graphicFrameChg chg="add del mod">
          <ac:chgData name="Yakov Pakhomov" userId="857a8f7002735771" providerId="LiveId" clId="{77711C24-CE86-4310-83AB-2BFC8187209E}" dt="2018-11-14T21:36:55.338" v="9769"/>
          <ac:graphicFrameMkLst>
            <pc:docMk/>
            <pc:sldMk cId="3711444871" sldId="704"/>
            <ac:graphicFrameMk id="93" creationId="{C64415C3-F0ED-441F-BB66-66A9F25CDED9}"/>
          </ac:graphicFrameMkLst>
        </pc:graphicFrameChg>
        <pc:graphicFrameChg chg="add del mod">
          <ac:chgData name="Yakov Pakhomov" userId="857a8f7002735771" providerId="LiveId" clId="{77711C24-CE86-4310-83AB-2BFC8187209E}" dt="2018-11-14T21:36:58.147" v="9858"/>
          <ac:graphicFrameMkLst>
            <pc:docMk/>
            <pc:sldMk cId="3711444871" sldId="704"/>
            <ac:graphicFrameMk id="94" creationId="{06D4B7E2-64BB-4966-A71E-809755B7DA60}"/>
          </ac:graphicFrameMkLst>
        </pc:graphicFrameChg>
        <pc:graphicFrameChg chg="add del mod">
          <ac:chgData name="Yakov Pakhomov" userId="857a8f7002735771" providerId="LiveId" clId="{77711C24-CE86-4310-83AB-2BFC8187209E}" dt="2018-11-14T21:37:04.304" v="9961"/>
          <ac:graphicFrameMkLst>
            <pc:docMk/>
            <pc:sldMk cId="3711444871" sldId="704"/>
            <ac:graphicFrameMk id="95" creationId="{8E9A1316-0C82-426E-B2BB-0F3803FB1105}"/>
          </ac:graphicFrameMkLst>
        </pc:graphicFrameChg>
        <pc:graphicFrameChg chg="add del mod">
          <ac:chgData name="Yakov Pakhomov" userId="857a8f7002735771" providerId="LiveId" clId="{77711C24-CE86-4310-83AB-2BFC8187209E}" dt="2018-11-14T21:37:07.862" v="10076"/>
          <ac:graphicFrameMkLst>
            <pc:docMk/>
            <pc:sldMk cId="3711444871" sldId="704"/>
            <ac:graphicFrameMk id="96" creationId="{61877F70-6E74-4E1E-A3F7-EFB73C2E0763}"/>
          </ac:graphicFrameMkLst>
        </pc:graphicFrameChg>
        <pc:graphicFrameChg chg="add del mod">
          <ac:chgData name="Yakov Pakhomov" userId="857a8f7002735771" providerId="LiveId" clId="{77711C24-CE86-4310-83AB-2BFC8187209E}" dt="2018-11-14T21:37:09.214" v="10193"/>
          <ac:graphicFrameMkLst>
            <pc:docMk/>
            <pc:sldMk cId="3711444871" sldId="704"/>
            <ac:graphicFrameMk id="97" creationId="{F35927D1-E0A4-4E29-8BF0-7C41FC8F2B26}"/>
          </ac:graphicFrameMkLst>
        </pc:graphicFrameChg>
        <pc:graphicFrameChg chg="add del mod">
          <ac:chgData name="Yakov Pakhomov" userId="857a8f7002735771" providerId="LiveId" clId="{77711C24-CE86-4310-83AB-2BFC8187209E}" dt="2018-11-14T21:37:16.801" v="10364"/>
          <ac:graphicFrameMkLst>
            <pc:docMk/>
            <pc:sldMk cId="3711444871" sldId="704"/>
            <ac:graphicFrameMk id="98" creationId="{93AB082B-5C59-48F3-822C-5414877A97B7}"/>
          </ac:graphicFrameMkLst>
        </pc:graphicFrameChg>
        <pc:graphicFrameChg chg="add del mod">
          <ac:chgData name="Yakov Pakhomov" userId="857a8f7002735771" providerId="LiveId" clId="{77711C24-CE86-4310-83AB-2BFC8187209E}" dt="2018-11-14T21:37:22.466" v="10477"/>
          <ac:graphicFrameMkLst>
            <pc:docMk/>
            <pc:sldMk cId="3711444871" sldId="704"/>
            <ac:graphicFrameMk id="103" creationId="{EAE4CC89-DF10-4437-B222-5B842EA561DF}"/>
          </ac:graphicFrameMkLst>
        </pc:graphicFrameChg>
        <pc:graphicFrameChg chg="add del mod">
          <ac:chgData name="Yakov Pakhomov" userId="857a8f7002735771" providerId="LiveId" clId="{77711C24-CE86-4310-83AB-2BFC8187209E}" dt="2018-11-14T21:37:27.263" v="10592"/>
          <ac:graphicFrameMkLst>
            <pc:docMk/>
            <pc:sldMk cId="3711444871" sldId="704"/>
            <ac:graphicFrameMk id="104" creationId="{3CEE58FB-584F-4DB7-8D7B-38F4AF807FDF}"/>
          </ac:graphicFrameMkLst>
        </pc:graphicFrameChg>
        <pc:graphicFrameChg chg="add del mod">
          <ac:chgData name="Yakov Pakhomov" userId="857a8f7002735771" providerId="LiveId" clId="{77711C24-CE86-4310-83AB-2BFC8187209E}" dt="2018-11-14T21:37:29.784" v="10711"/>
          <ac:graphicFrameMkLst>
            <pc:docMk/>
            <pc:sldMk cId="3711444871" sldId="704"/>
            <ac:graphicFrameMk id="105" creationId="{D7C6465B-AF1C-4E0D-85C2-9220C18A1522}"/>
          </ac:graphicFrameMkLst>
        </pc:graphicFrameChg>
        <pc:graphicFrameChg chg="add del mod">
          <ac:chgData name="Yakov Pakhomov" userId="857a8f7002735771" providerId="LiveId" clId="{77711C24-CE86-4310-83AB-2BFC8187209E}" dt="2018-11-14T21:37:34.407" v="10810"/>
          <ac:graphicFrameMkLst>
            <pc:docMk/>
            <pc:sldMk cId="3711444871" sldId="704"/>
            <ac:graphicFrameMk id="106" creationId="{975F2593-9FAE-4F8E-8D55-2C2F5BFEB31A}"/>
          </ac:graphicFrameMkLst>
        </pc:graphicFrameChg>
        <pc:graphicFrameChg chg="add del mod">
          <ac:chgData name="Yakov Pakhomov" userId="857a8f7002735771" providerId="LiveId" clId="{77711C24-CE86-4310-83AB-2BFC8187209E}" dt="2018-11-14T21:37:36.433" v="10903"/>
          <ac:graphicFrameMkLst>
            <pc:docMk/>
            <pc:sldMk cId="3711444871" sldId="704"/>
            <ac:graphicFrameMk id="107" creationId="{F0F65D02-D58F-4167-9FEE-2DF7BCDA6A8D}"/>
          </ac:graphicFrameMkLst>
        </pc:graphicFrameChg>
        <pc:graphicFrameChg chg="add del mod">
          <ac:chgData name="Yakov Pakhomov" userId="857a8f7002735771" providerId="LiveId" clId="{77711C24-CE86-4310-83AB-2BFC8187209E}" dt="2018-11-14T21:37:39.798" v="10996"/>
          <ac:graphicFrameMkLst>
            <pc:docMk/>
            <pc:sldMk cId="3711444871" sldId="704"/>
            <ac:graphicFrameMk id="108" creationId="{5D13B101-1A8D-46BA-91CA-47C2E52A3B6D}"/>
          </ac:graphicFrameMkLst>
        </pc:graphicFrameChg>
        <pc:graphicFrameChg chg="add del mod">
          <ac:chgData name="Yakov Pakhomov" userId="857a8f7002735771" providerId="LiveId" clId="{77711C24-CE86-4310-83AB-2BFC8187209E}" dt="2018-11-14T21:37:45.212" v="11110"/>
          <ac:graphicFrameMkLst>
            <pc:docMk/>
            <pc:sldMk cId="3711444871" sldId="704"/>
            <ac:graphicFrameMk id="109" creationId="{30D0FD5B-46C1-492C-B666-37887ABFFD00}"/>
          </ac:graphicFrameMkLst>
        </pc:graphicFrameChg>
        <pc:graphicFrameChg chg="add del mod">
          <ac:chgData name="Yakov Pakhomov" userId="857a8f7002735771" providerId="LiveId" clId="{77711C24-CE86-4310-83AB-2BFC8187209E}" dt="2018-11-16T08:32:48.057" v="28360"/>
          <ac:graphicFrameMkLst>
            <pc:docMk/>
            <pc:sldMk cId="3711444871" sldId="704"/>
            <ac:graphicFrameMk id="111" creationId="{AC289A29-2763-46FB-B5AD-8CA816A0C7FF}"/>
          </ac:graphicFrameMkLst>
        </pc:graphicFrameChg>
        <pc:cxnChg chg="add mod ord">
          <ac:chgData name="Yakov Pakhomov" userId="857a8f7002735771" providerId="LiveId" clId="{77711C24-CE86-4310-83AB-2BFC8187209E}" dt="2018-11-16T08:44:36.124" v="28614"/>
          <ac:cxnSpMkLst>
            <pc:docMk/>
            <pc:sldMk cId="3711444871" sldId="704"/>
            <ac:cxnSpMk id="69" creationId="{3412C4EB-E868-40DA-BEFD-2A441975E25D}"/>
          </ac:cxnSpMkLst>
        </pc:cxnChg>
        <pc:cxnChg chg="add del mod ord">
          <ac:chgData name="Yakov Pakhomov" userId="857a8f7002735771" providerId="LiveId" clId="{77711C24-CE86-4310-83AB-2BFC8187209E}" dt="2018-11-14T21:36:06.647" v="8814"/>
          <ac:cxnSpMkLst>
            <pc:docMk/>
            <pc:sldMk cId="3711444871" sldId="704"/>
            <ac:cxnSpMk id="70" creationId="{97FC2ED3-5D14-41B3-91E3-FD6FE9E057DC}"/>
          </ac:cxnSpMkLst>
        </pc:cxnChg>
        <pc:cxnChg chg="add mod ord">
          <ac:chgData name="Yakov Pakhomov" userId="857a8f7002735771" providerId="LiveId" clId="{77711C24-CE86-4310-83AB-2BFC8187209E}" dt="2018-11-16T08:44:36.125" v="28616"/>
          <ac:cxnSpMkLst>
            <pc:docMk/>
            <pc:sldMk cId="3711444871" sldId="704"/>
            <ac:cxnSpMk id="71" creationId="{75119B71-32D7-4218-855D-49789802D653}"/>
          </ac:cxnSpMkLst>
        </pc:cxnChg>
        <pc:cxnChg chg="add mod ord">
          <ac:chgData name="Yakov Pakhomov" userId="857a8f7002735771" providerId="LiveId" clId="{77711C24-CE86-4310-83AB-2BFC8187209E}" dt="2018-11-16T08:44:36.127" v="28620"/>
          <ac:cxnSpMkLst>
            <pc:docMk/>
            <pc:sldMk cId="3711444871" sldId="704"/>
            <ac:cxnSpMk id="73" creationId="{7C8A7064-3BE7-4DDD-8A1F-05392AF72DC2}"/>
          </ac:cxnSpMkLst>
        </pc:cxnChg>
        <pc:cxnChg chg="add del mod ord">
          <ac:chgData name="Yakov Pakhomov" userId="857a8f7002735771" providerId="LiveId" clId="{77711C24-CE86-4310-83AB-2BFC8187209E}" dt="2018-11-14T21:36:29.901" v="9149"/>
          <ac:cxnSpMkLst>
            <pc:docMk/>
            <pc:sldMk cId="3711444871" sldId="704"/>
            <ac:cxnSpMk id="78" creationId="{5818BA64-4E52-44D7-B5BD-AE67A0D9E0D1}"/>
          </ac:cxnSpMkLst>
        </pc:cxnChg>
        <pc:cxnChg chg="add mod ord">
          <ac:chgData name="Yakov Pakhomov" userId="857a8f7002735771" providerId="LiveId" clId="{77711C24-CE86-4310-83AB-2BFC8187209E}" dt="2018-11-16T08:44:36.128" v="28624"/>
          <ac:cxnSpMkLst>
            <pc:docMk/>
            <pc:sldMk cId="3711444871" sldId="704"/>
            <ac:cxnSpMk id="79" creationId="{D01773E1-9A6D-47AE-8A3F-6467B371F082}"/>
          </ac:cxnSpMkLst>
        </pc:cxnChg>
        <pc:cxnChg chg="add mod ord">
          <ac:chgData name="Yakov Pakhomov" userId="857a8f7002735771" providerId="LiveId" clId="{77711C24-CE86-4310-83AB-2BFC8187209E}" dt="2018-11-16T08:44:36.128" v="28626"/>
          <ac:cxnSpMkLst>
            <pc:docMk/>
            <pc:sldMk cId="3711444871" sldId="704"/>
            <ac:cxnSpMk id="80" creationId="{EA1DA030-9FB8-498B-8B7F-45C4B2E92923}"/>
          </ac:cxnSpMkLst>
        </pc:cxnChg>
        <pc:cxnChg chg="add mod ord">
          <ac:chgData name="Yakov Pakhomov" userId="857a8f7002735771" providerId="LiveId" clId="{77711C24-CE86-4310-83AB-2BFC8187209E}" dt="2018-11-16T08:44:36.127" v="28622"/>
          <ac:cxnSpMkLst>
            <pc:docMk/>
            <pc:sldMk cId="3711444871" sldId="704"/>
            <ac:cxnSpMk id="86" creationId="{031C1ACC-870A-4885-8A80-55E75F3D50AD}"/>
          </ac:cxnSpMkLst>
        </pc:cxnChg>
        <pc:cxnChg chg="add mod ord">
          <ac:chgData name="Yakov Pakhomov" userId="857a8f7002735771" providerId="LiveId" clId="{77711C24-CE86-4310-83AB-2BFC8187209E}" dt="2018-11-16T08:44:36.126" v="28618"/>
          <ac:cxnSpMkLst>
            <pc:docMk/>
            <pc:sldMk cId="3711444871" sldId="704"/>
            <ac:cxnSpMk id="89" creationId="{297602FE-F039-42D2-B815-813F5DD734FE}"/>
          </ac:cxnSpMkLst>
        </pc:cxnChg>
        <pc:cxnChg chg="add mod ord">
          <ac:chgData name="Yakov Pakhomov" userId="857a8f7002735771" providerId="LiveId" clId="{77711C24-CE86-4310-83AB-2BFC8187209E}" dt="2018-11-16T08:44:36.129" v="28628"/>
          <ac:cxnSpMkLst>
            <pc:docMk/>
            <pc:sldMk cId="3711444871" sldId="704"/>
            <ac:cxnSpMk id="90" creationId="{C7C0A603-133C-4F17-BCC9-0C75970389E6}"/>
          </ac:cxnSpMkLst>
        </pc:cxnChg>
        <pc:cxnChg chg="add mod ord">
          <ac:chgData name="Yakov Pakhomov" userId="857a8f7002735771" providerId="LiveId" clId="{77711C24-CE86-4310-83AB-2BFC8187209E}" dt="2018-11-16T08:44:36.130" v="28630"/>
          <ac:cxnSpMkLst>
            <pc:docMk/>
            <pc:sldMk cId="3711444871" sldId="704"/>
            <ac:cxnSpMk id="91" creationId="{6D5BF7AC-F852-43A8-9569-0263CD1C6D7F}"/>
          </ac:cxnSpMkLst>
        </pc:cxnChg>
        <pc:cxnChg chg="add del mod ord">
          <ac:chgData name="Yakov Pakhomov" userId="857a8f7002735771" providerId="LiveId" clId="{77711C24-CE86-4310-83AB-2BFC8187209E}" dt="2018-11-14T21:37:45.203" v="11098"/>
          <ac:cxnSpMkLst>
            <pc:docMk/>
            <pc:sldMk cId="3711444871" sldId="704"/>
            <ac:cxnSpMk id="100" creationId="{9418B8E9-1E64-4F5F-BE3B-E949C9822FAF}"/>
          </ac:cxnSpMkLst>
        </pc:cxnChg>
        <pc:cxnChg chg="add del mod ord">
          <ac:chgData name="Yakov Pakhomov" userId="857a8f7002735771" providerId="LiveId" clId="{77711C24-CE86-4310-83AB-2BFC8187209E}" dt="2018-11-14T21:37:39.795" v="10991"/>
          <ac:cxnSpMkLst>
            <pc:docMk/>
            <pc:sldMk cId="3711444871" sldId="704"/>
            <ac:cxnSpMk id="101" creationId="{C73A0BFE-C3C8-4E77-8482-D0C957EA53A6}"/>
          </ac:cxnSpMkLst>
        </pc:cxnChg>
        <pc:cxnChg chg="add mod ord">
          <ac:chgData name="Yakov Pakhomov" userId="857a8f7002735771" providerId="LiveId" clId="{77711C24-CE86-4310-83AB-2BFC8187209E}" dt="2018-11-16T08:44:36.132" v="28634"/>
          <ac:cxnSpMkLst>
            <pc:docMk/>
            <pc:sldMk cId="3711444871" sldId="704"/>
            <ac:cxnSpMk id="102" creationId="{6388CCC4-1BC2-48F9-B405-E0A6581624B3}"/>
          </ac:cxnSpMkLst>
        </pc:cxnChg>
        <pc:cxnChg chg="add mod ord">
          <ac:chgData name="Yakov Pakhomov" userId="857a8f7002735771" providerId="LiveId" clId="{77711C24-CE86-4310-83AB-2BFC8187209E}" dt="2018-11-16T08:44:36.131" v="28632"/>
          <ac:cxnSpMkLst>
            <pc:docMk/>
            <pc:sldMk cId="3711444871" sldId="704"/>
            <ac:cxnSpMk id="110" creationId="{D6CA200E-67E9-49F8-9DEA-75299F31678A}"/>
          </ac:cxnSpMkLst>
        </pc:cxnChg>
      </pc:sldChg>
      <pc:sldChg chg="addSp delSp modSp add del">
        <pc:chgData name="Yakov Pakhomov" userId="857a8f7002735771" providerId="LiveId" clId="{77711C24-CE86-4310-83AB-2BFC8187209E}" dt="2018-11-15T10:26:56.566" v="25029" actId="2696"/>
        <pc:sldMkLst>
          <pc:docMk/>
          <pc:sldMk cId="2936330382" sldId="705"/>
        </pc:sldMkLst>
        <pc:spChg chg="mod ord">
          <ac:chgData name="Yakov Pakhomov" userId="857a8f7002735771" providerId="LiveId" clId="{77711C24-CE86-4310-83AB-2BFC8187209E}" dt="2018-11-14T21:41:11.267" v="11228"/>
          <ac:spMkLst>
            <pc:docMk/>
            <pc:sldMk cId="2936330382" sldId="705"/>
            <ac:spMk id="2" creationId="{B1CCD106-333F-490C-8166-003B5ABACD74}"/>
          </ac:spMkLst>
        </pc:spChg>
        <pc:spChg chg="add del">
          <ac:chgData name="Yakov Pakhomov" userId="857a8f7002735771" providerId="LiveId" clId="{77711C24-CE86-4310-83AB-2BFC8187209E}" dt="2018-11-14T21:41:00.989" v="11187"/>
          <ac:spMkLst>
            <pc:docMk/>
            <pc:sldMk cId="2936330382" sldId="705"/>
            <ac:spMk id="3" creationId="{B29C2C88-078A-46C9-B8F4-CCD980DBC960}"/>
          </ac:spMkLst>
        </pc:spChg>
        <pc:spChg chg="add mod ord">
          <ac:chgData name="Yakov Pakhomov" userId="857a8f7002735771" providerId="LiveId" clId="{77711C24-CE86-4310-83AB-2BFC8187209E}" dt="2018-11-15T10:21:15.797" v="25028" actId="14100"/>
          <ac:spMkLst>
            <pc:docMk/>
            <pc:sldMk cId="2936330382" sldId="705"/>
            <ac:spMk id="4" creationId="{EF3D6421-1D11-4026-9519-198D5EB65922}"/>
          </ac:spMkLst>
        </pc:spChg>
        <pc:spChg chg="add mod ord">
          <ac:chgData name="Yakov Pakhomov" userId="857a8f7002735771" providerId="LiveId" clId="{77711C24-CE86-4310-83AB-2BFC8187209E}" dt="2018-11-14T21:41:11.266" v="11226"/>
          <ac:spMkLst>
            <pc:docMk/>
            <pc:sldMk cId="2936330382" sldId="705"/>
            <ac:spMk id="5" creationId="{D06C002A-1D46-4B0C-BF33-08083CEF37AA}"/>
          </ac:spMkLst>
        </pc:spChg>
        <pc:spChg chg="add del">
          <ac:chgData name="Yakov Pakhomov" userId="857a8f7002735771" providerId="LiveId" clId="{77711C24-CE86-4310-83AB-2BFC8187209E}" dt="2018-11-14T21:41:20.352" v="11246"/>
          <ac:spMkLst>
            <pc:docMk/>
            <pc:sldMk cId="2936330382" sldId="705"/>
            <ac:spMk id="7" creationId="{AF7C7582-A827-48AE-9FC4-43642AD7C6E2}"/>
          </ac:spMkLst>
        </pc:spChg>
        <pc:spChg chg="add del">
          <ac:chgData name="Yakov Pakhomov" userId="857a8f7002735771" providerId="LiveId" clId="{77711C24-CE86-4310-83AB-2BFC8187209E}" dt="2018-11-14T21:41:23.281" v="11250"/>
          <ac:spMkLst>
            <pc:docMk/>
            <pc:sldMk cId="2936330382" sldId="705"/>
            <ac:spMk id="8" creationId="{AC417123-3E2B-4878-98D6-160B59EE51CE}"/>
          </ac:spMkLst>
        </pc:spChg>
        <pc:spChg chg="add mod">
          <ac:chgData name="Yakov Pakhomov" userId="857a8f7002735771" providerId="LiveId" clId="{77711C24-CE86-4310-83AB-2BFC8187209E}" dt="2018-11-14T21:41:26.404" v="11252" actId="1076"/>
          <ac:spMkLst>
            <pc:docMk/>
            <pc:sldMk cId="2936330382" sldId="705"/>
            <ac:spMk id="9" creationId="{5839F116-7FBF-4750-8E2D-C8917E9BCE2A}"/>
          </ac:spMkLst>
        </pc:spChg>
        <pc:spChg chg="add del">
          <ac:chgData name="Yakov Pakhomov" userId="857a8f7002735771" providerId="LiveId" clId="{77711C24-CE86-4310-83AB-2BFC8187209E}" dt="2018-11-14T21:41:42.608" v="11255"/>
          <ac:spMkLst>
            <pc:docMk/>
            <pc:sldMk cId="2936330382" sldId="705"/>
            <ac:spMk id="10" creationId="{B0979EF0-5382-4EFC-8E3F-066623154452}"/>
          </ac:spMkLst>
        </pc:spChg>
        <pc:spChg chg="add mod">
          <ac:chgData name="Yakov Pakhomov" userId="857a8f7002735771" providerId="LiveId" clId="{77711C24-CE86-4310-83AB-2BFC8187209E}" dt="2018-11-14T21:41:59.509" v="11263" actId="20577"/>
          <ac:spMkLst>
            <pc:docMk/>
            <pc:sldMk cId="2936330382" sldId="705"/>
            <ac:spMk id="11" creationId="{47C0C33A-B3EE-4490-855F-BB38B18E7412}"/>
          </ac:spMkLst>
        </pc:spChg>
        <pc:spChg chg="add mod">
          <ac:chgData name="Yakov Pakhomov" userId="857a8f7002735771" providerId="LiveId" clId="{77711C24-CE86-4310-83AB-2BFC8187209E}" dt="2018-11-15T10:21:11.973" v="25027" actId="1076"/>
          <ac:spMkLst>
            <pc:docMk/>
            <pc:sldMk cId="2936330382" sldId="705"/>
            <ac:spMk id="12" creationId="{0D45AEE4-29EC-49F7-A343-DD8CC4C802EE}"/>
          </ac:spMkLst>
        </pc:spChg>
        <pc:graphicFrameChg chg="add mod ord">
          <ac:chgData name="Yakov Pakhomov" userId="857a8f7002735771" providerId="LiveId" clId="{77711C24-CE86-4310-83AB-2BFC8187209E}" dt="2018-11-14T21:41:11.296" v="11244"/>
          <ac:graphicFrameMkLst>
            <pc:docMk/>
            <pc:sldMk cId="2936330382" sldId="705"/>
            <ac:graphicFrameMk id="6" creationId="{D6D0F8E9-0DB9-476F-BD2C-570DEAC8AD08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6T08:34:35.684" v="28444" actId="20577"/>
        <pc:sldMkLst>
          <pc:docMk/>
          <pc:sldMk cId="2192684541" sldId="706"/>
        </pc:sldMkLst>
        <pc:spChg chg="mod">
          <ac:chgData name="Yakov Pakhomov" userId="857a8f7002735771" providerId="LiveId" clId="{77711C24-CE86-4310-83AB-2BFC8187209E}" dt="2018-11-14T21:46:10.704" v="11317"/>
          <ac:spMkLst>
            <pc:docMk/>
            <pc:sldMk cId="2192684541" sldId="706"/>
            <ac:spMk id="2" creationId="{415B6E77-68A3-42DC-9F9D-B9FDCCEB2793}"/>
          </ac:spMkLst>
        </pc:spChg>
        <pc:spChg chg="add del">
          <ac:chgData name="Yakov Pakhomov" userId="857a8f7002735771" providerId="LiveId" clId="{77711C24-CE86-4310-83AB-2BFC8187209E}" dt="2018-11-14T21:44:30.037" v="11266"/>
          <ac:spMkLst>
            <pc:docMk/>
            <pc:sldMk cId="2192684541" sldId="706"/>
            <ac:spMk id="3" creationId="{09139182-15F4-4CA7-AE20-CD632E27DDF3}"/>
          </ac:spMkLst>
        </pc:spChg>
        <pc:spChg chg="add mod">
          <ac:chgData name="Yakov Pakhomov" userId="857a8f7002735771" providerId="LiveId" clId="{77711C24-CE86-4310-83AB-2BFC8187209E}" dt="2018-11-14T21:44:42.341" v="11274" actId="1076"/>
          <ac:spMkLst>
            <pc:docMk/>
            <pc:sldMk cId="2192684541" sldId="706"/>
            <ac:spMk id="4" creationId="{0C7A9A62-FCCD-45A7-9CD4-82680762FFA6}"/>
          </ac:spMkLst>
        </pc:spChg>
        <pc:spChg chg="add mod">
          <ac:chgData name="Yakov Pakhomov" userId="857a8f7002735771" providerId="LiveId" clId="{77711C24-CE86-4310-83AB-2BFC8187209E}" dt="2018-11-16T08:34:35.684" v="28444" actId="20577"/>
          <ac:spMkLst>
            <pc:docMk/>
            <pc:sldMk cId="2192684541" sldId="706"/>
            <ac:spMk id="6" creationId="{AE06398D-05AD-4517-BE6F-4884F1041F8F}"/>
          </ac:spMkLst>
        </pc:spChg>
        <pc:graphicFrameChg chg="add mod ord">
          <ac:chgData name="Yakov Pakhomov" userId="857a8f7002735771" providerId="LiveId" clId="{77711C24-CE86-4310-83AB-2BFC8187209E}" dt="2018-11-14T21:46:11.256" v="11331"/>
          <ac:graphicFrameMkLst>
            <pc:docMk/>
            <pc:sldMk cId="2192684541" sldId="706"/>
            <ac:graphicFrameMk id="5" creationId="{D41D7359-0339-455A-8104-987058834129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6T08:34:42.991" v="28446"/>
        <pc:sldMkLst>
          <pc:docMk/>
          <pc:sldMk cId="261221083" sldId="707"/>
        </pc:sldMkLst>
        <pc:spChg chg="mod">
          <ac:chgData name="Yakov Pakhomov" userId="857a8f7002735771" providerId="LiveId" clId="{77711C24-CE86-4310-83AB-2BFC8187209E}" dt="2018-11-14T21:51:39.300" v="11551" actId="20577"/>
          <ac:spMkLst>
            <pc:docMk/>
            <pc:sldMk cId="261221083" sldId="707"/>
            <ac:spMk id="2" creationId="{E3A86CB5-84DC-4D23-B39A-C115A57A4B1E}"/>
          </ac:spMkLst>
        </pc:spChg>
        <pc:spChg chg="add mod">
          <ac:chgData name="Yakov Pakhomov" userId="857a8f7002735771" providerId="LiveId" clId="{77711C24-CE86-4310-83AB-2BFC8187209E}" dt="2018-11-14T21:52:08.651" v="11557" actId="948"/>
          <ac:spMkLst>
            <pc:docMk/>
            <pc:sldMk cId="261221083" sldId="707"/>
            <ac:spMk id="3" creationId="{CCAEA8CD-AD61-47B9-9E94-0482FDCD2EA3}"/>
          </ac:spMkLst>
        </pc:spChg>
        <pc:spChg chg="add del">
          <ac:chgData name="Yakov Pakhomov" userId="857a8f7002735771" providerId="LiveId" clId="{77711C24-CE86-4310-83AB-2BFC8187209E}" dt="2018-11-16T08:34:42.535" v="28445" actId="478"/>
          <ac:spMkLst>
            <pc:docMk/>
            <pc:sldMk cId="261221083" sldId="707"/>
            <ac:spMk id="5" creationId="{9754BCD2-FE65-4730-A664-6F654434F71A}"/>
          </ac:spMkLst>
        </pc:spChg>
        <pc:spChg chg="add">
          <ac:chgData name="Yakov Pakhomov" userId="857a8f7002735771" providerId="LiveId" clId="{77711C24-CE86-4310-83AB-2BFC8187209E}" dt="2018-11-16T08:34:42.991" v="28446"/>
          <ac:spMkLst>
            <pc:docMk/>
            <pc:sldMk cId="261221083" sldId="707"/>
            <ac:spMk id="6" creationId="{BCBABEF0-AF66-4840-9658-EE4417FF9A45}"/>
          </ac:spMkLst>
        </pc:spChg>
        <pc:graphicFrameChg chg="add mod ord">
          <ac:chgData name="Yakov Pakhomov" userId="857a8f7002735771" providerId="LiveId" clId="{77711C24-CE86-4310-83AB-2BFC8187209E}" dt="2018-11-14T21:51:39.489" v="11553"/>
          <ac:graphicFrameMkLst>
            <pc:docMk/>
            <pc:sldMk cId="261221083" sldId="707"/>
            <ac:graphicFrameMk id="4" creationId="{A554125B-466D-461A-950E-4B1562FD703D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6T08:35:15.289" v="28459" actId="14100"/>
        <pc:sldMkLst>
          <pc:docMk/>
          <pc:sldMk cId="4184827117" sldId="708"/>
        </pc:sldMkLst>
        <pc:spChg chg="del mod ord">
          <ac:chgData name="Yakov Pakhomov" userId="857a8f7002735771" providerId="LiveId" clId="{77711C24-CE86-4310-83AB-2BFC8187209E}" dt="2018-11-14T21:54:54.644" v="11616"/>
          <ac:spMkLst>
            <pc:docMk/>
            <pc:sldMk cId="4184827117" sldId="708"/>
            <ac:spMk id="4" creationId="{1C583F20-8BE8-4BCF-ACE3-8ABD57EC8B28}"/>
          </ac:spMkLst>
        </pc:spChg>
        <pc:spChg chg="del mod ord">
          <ac:chgData name="Yakov Pakhomov" userId="857a8f7002735771" providerId="LiveId" clId="{77711C24-CE86-4310-83AB-2BFC8187209E}" dt="2018-11-16T08:32:12.630" v="28147" actId="478"/>
          <ac:spMkLst>
            <pc:docMk/>
            <pc:sldMk cId="4184827117" sldId="708"/>
            <ac:spMk id="7" creationId="{EF73A8AA-0438-4CCA-AA19-52DF0F9B20E4}"/>
          </ac:spMkLst>
        </pc:spChg>
        <pc:spChg chg="add del mod">
          <ac:chgData name="Yakov Pakhomov" userId="857a8f7002735771" providerId="LiveId" clId="{77711C24-CE86-4310-83AB-2BFC8187209E}" dt="2018-11-14T21:54:40.472" v="11588"/>
          <ac:spMkLst>
            <pc:docMk/>
            <pc:sldMk cId="4184827117" sldId="708"/>
            <ac:spMk id="8" creationId="{A4821996-A812-409A-B39D-081DA2DBA05E}"/>
          </ac:spMkLst>
        </pc:spChg>
        <pc:spChg chg="add del mod">
          <ac:chgData name="Yakov Pakhomov" userId="857a8f7002735771" providerId="LiveId" clId="{77711C24-CE86-4310-83AB-2BFC8187209E}" dt="2018-11-14T21:54:40.472" v="11588"/>
          <ac:spMkLst>
            <pc:docMk/>
            <pc:sldMk cId="4184827117" sldId="708"/>
            <ac:spMk id="9" creationId="{9E6129AF-F761-4563-949F-8C34836BA78C}"/>
          </ac:spMkLst>
        </pc:spChg>
        <pc:spChg chg="add del mod">
          <ac:chgData name="Yakov Pakhomov" userId="857a8f7002735771" providerId="LiveId" clId="{77711C24-CE86-4310-83AB-2BFC8187209E}" dt="2018-11-16T08:35:10.287" v="28457" actId="478"/>
          <ac:spMkLst>
            <pc:docMk/>
            <pc:sldMk cId="4184827117" sldId="708"/>
            <ac:spMk id="9" creationId="{F0CA16AD-881F-41DE-98BB-60C6F42C9D3D}"/>
          </ac:spMkLst>
        </pc:spChg>
        <pc:spChg chg="add mod">
          <ac:chgData name="Yakov Pakhomov" userId="857a8f7002735771" providerId="LiveId" clId="{77711C24-CE86-4310-83AB-2BFC8187209E}" dt="2018-11-16T08:35:15.289" v="28459" actId="14100"/>
          <ac:spMkLst>
            <pc:docMk/>
            <pc:sldMk cId="4184827117" sldId="708"/>
            <ac:spMk id="10" creationId="{20B26204-D08C-40BE-A872-D5460E5ED684}"/>
          </ac:spMkLst>
        </pc:spChg>
        <pc:spChg chg="add del mod">
          <ac:chgData name="Yakov Pakhomov" userId="857a8f7002735771" providerId="LiveId" clId="{77711C24-CE86-4310-83AB-2BFC8187209E}" dt="2018-11-14T21:54:40.472" v="11588"/>
          <ac:spMkLst>
            <pc:docMk/>
            <pc:sldMk cId="4184827117" sldId="708"/>
            <ac:spMk id="10" creationId="{3EC1C620-D4CB-4052-91C4-95E1EA202459}"/>
          </ac:spMkLst>
        </pc:spChg>
        <pc:spChg chg="add del mod">
          <ac:chgData name="Yakov Pakhomov" userId="857a8f7002735771" providerId="LiveId" clId="{77711C24-CE86-4310-83AB-2BFC8187209E}" dt="2018-11-14T21:55:00.160" v="11619"/>
          <ac:spMkLst>
            <pc:docMk/>
            <pc:sldMk cId="4184827117" sldId="708"/>
            <ac:spMk id="11" creationId="{876420F9-51F4-4F38-873D-740E263889E8}"/>
          </ac:spMkLst>
        </pc:spChg>
        <pc:spChg chg="add del mod">
          <ac:chgData name="Yakov Pakhomov" userId="857a8f7002735771" providerId="LiveId" clId="{77711C24-CE86-4310-83AB-2BFC8187209E}" dt="2018-11-14T21:55:00.160" v="11619"/>
          <ac:spMkLst>
            <pc:docMk/>
            <pc:sldMk cId="4184827117" sldId="708"/>
            <ac:spMk id="12" creationId="{8F41A93E-B202-49CA-BD1B-E77913AD5710}"/>
          </ac:spMkLst>
        </pc:spChg>
        <pc:spChg chg="add del mod">
          <ac:chgData name="Yakov Pakhomov" userId="857a8f7002735771" providerId="LiveId" clId="{77711C24-CE86-4310-83AB-2BFC8187209E}" dt="2018-11-14T21:55:00.160" v="11619"/>
          <ac:spMkLst>
            <pc:docMk/>
            <pc:sldMk cId="4184827117" sldId="708"/>
            <ac:spMk id="13" creationId="{BE0C5A70-9A82-475B-A88A-E9C4412C211B}"/>
          </ac:spMkLst>
        </pc:spChg>
        <pc:spChg chg="add mod">
          <ac:chgData name="Yakov Pakhomov" userId="857a8f7002735771" providerId="LiveId" clId="{77711C24-CE86-4310-83AB-2BFC8187209E}" dt="2018-11-14T21:55:00.160" v="11619"/>
          <ac:spMkLst>
            <pc:docMk/>
            <pc:sldMk cId="4184827117" sldId="708"/>
            <ac:spMk id="14" creationId="{1B4FDFE0-A6F1-4149-A3DB-BC556726B533}"/>
          </ac:spMkLst>
        </pc:spChg>
        <pc:spChg chg="add mod">
          <ac:chgData name="Yakov Pakhomov" userId="857a8f7002735771" providerId="LiveId" clId="{77711C24-CE86-4310-83AB-2BFC8187209E}" dt="2018-11-14T21:55:00.160" v="11619"/>
          <ac:spMkLst>
            <pc:docMk/>
            <pc:sldMk cId="4184827117" sldId="708"/>
            <ac:spMk id="15" creationId="{774B18DA-280B-49F9-B4D4-4A93368D59D0}"/>
          </ac:spMkLst>
        </pc:spChg>
        <pc:spChg chg="add mod">
          <ac:chgData name="Yakov Pakhomov" userId="857a8f7002735771" providerId="LiveId" clId="{77711C24-CE86-4310-83AB-2BFC8187209E}" dt="2018-11-14T21:55:04.496" v="11622"/>
          <ac:spMkLst>
            <pc:docMk/>
            <pc:sldMk cId="4184827117" sldId="708"/>
            <ac:spMk id="16" creationId="{509F4538-2C2D-44CA-846A-7E1247AF5DA5}"/>
          </ac:spMkLst>
        </pc:spChg>
        <pc:graphicFrameChg chg="mod ord">
          <ac:chgData name="Yakov Pakhomov" userId="857a8f7002735771" providerId="LiveId" clId="{77711C24-CE86-4310-83AB-2BFC8187209E}" dt="2018-11-14T21:55:00.693" v="11621"/>
          <ac:graphicFrameMkLst>
            <pc:docMk/>
            <pc:sldMk cId="4184827117" sldId="708"/>
            <ac:graphicFrameMk id="5" creationId="{7C6C356C-A6A7-4FA5-AF2E-D17D40896C41}"/>
          </ac:graphicFrameMkLst>
        </pc:graphicFrameChg>
        <pc:picChg chg="add mod ord">
          <ac:chgData name="Yakov Pakhomov" userId="857a8f7002735771" providerId="LiveId" clId="{77711C24-CE86-4310-83AB-2BFC8187209E}" dt="2018-11-14T21:55:14.169" v="11624" actId="1076"/>
          <ac:picMkLst>
            <pc:docMk/>
            <pc:sldMk cId="4184827117" sldId="708"/>
            <ac:picMk id="2" creationId="{BE87D3FB-F828-46AE-AF02-9F016E58F5FB}"/>
          </ac:picMkLst>
        </pc:picChg>
        <pc:picChg chg="del">
          <ac:chgData name="Yakov Pakhomov" userId="857a8f7002735771" providerId="LiveId" clId="{77711C24-CE86-4310-83AB-2BFC8187209E}" dt="2018-11-14T21:53:22.133" v="11559" actId="478"/>
          <ac:picMkLst>
            <pc:docMk/>
            <pc:sldMk cId="4184827117" sldId="708"/>
            <ac:picMk id="3" creationId="{1E0E5803-4E8F-44C1-81CE-5288064E7489}"/>
          </ac:picMkLst>
        </pc:picChg>
        <pc:picChg chg="add mod ord">
          <ac:chgData name="Yakov Pakhomov" userId="857a8f7002735771" providerId="LiveId" clId="{77711C24-CE86-4310-83AB-2BFC8187209E}" dt="2018-11-14T21:54:18.066" v="11576"/>
          <ac:picMkLst>
            <pc:docMk/>
            <pc:sldMk cId="4184827117" sldId="708"/>
            <ac:picMk id="6" creationId="{3767CB3E-4AE7-42E3-B93A-D357C4CD6EE9}"/>
          </ac:picMkLst>
        </pc:picChg>
      </pc:sldChg>
      <pc:sldChg chg="addSp delSp modSp add ord">
        <pc:chgData name="Yakov Pakhomov" userId="857a8f7002735771" providerId="LiveId" clId="{77711C24-CE86-4310-83AB-2BFC8187209E}" dt="2018-11-16T08:35:05.663" v="28456"/>
        <pc:sldMkLst>
          <pc:docMk/>
          <pc:sldMk cId="1242729408" sldId="709"/>
        </pc:sldMkLst>
        <pc:spChg chg="mod ord">
          <ac:chgData name="Yakov Pakhomov" userId="857a8f7002735771" providerId="LiveId" clId="{77711C24-CE86-4310-83AB-2BFC8187209E}" dt="2018-11-14T22:00:03.429" v="11836" actId="20577"/>
          <ac:spMkLst>
            <pc:docMk/>
            <pc:sldMk cId="1242729408" sldId="709"/>
            <ac:spMk id="2" creationId="{FD623F71-8797-44EA-8A39-CD997E929703}"/>
          </ac:spMkLst>
        </pc:spChg>
        <pc:spChg chg="add del mod ord">
          <ac:chgData name="Yakov Pakhomov" userId="857a8f7002735771" providerId="LiveId" clId="{77711C24-CE86-4310-83AB-2BFC8187209E}" dt="2018-11-16T08:32:20.927" v="28150" actId="478"/>
          <ac:spMkLst>
            <pc:docMk/>
            <pc:sldMk cId="1242729408" sldId="709"/>
            <ac:spMk id="6" creationId="{BBFD40EF-B259-45BA-B163-9022C835B62E}"/>
          </ac:spMkLst>
        </pc:spChg>
        <pc:spChg chg="add mod ord">
          <ac:chgData name="Yakov Pakhomov" userId="857a8f7002735771" providerId="LiveId" clId="{77711C24-CE86-4310-83AB-2BFC8187209E}" dt="2018-11-14T21:59:43.981" v="11749"/>
          <ac:spMkLst>
            <pc:docMk/>
            <pc:sldMk cId="1242729408" sldId="709"/>
            <ac:spMk id="8" creationId="{8932CD08-7AD4-49F0-AE4F-FA258604F275}"/>
          </ac:spMkLst>
        </pc:spChg>
        <pc:spChg chg="add mod ord">
          <ac:chgData name="Yakov Pakhomov" userId="857a8f7002735771" providerId="LiveId" clId="{77711C24-CE86-4310-83AB-2BFC8187209E}" dt="2018-11-14T21:59:43.982" v="11751"/>
          <ac:spMkLst>
            <pc:docMk/>
            <pc:sldMk cId="1242729408" sldId="709"/>
            <ac:spMk id="9" creationId="{15918AFE-698D-4824-BF2A-7E5A4E584019}"/>
          </ac:spMkLst>
        </pc:spChg>
        <pc:spChg chg="add mod ord">
          <ac:chgData name="Yakov Pakhomov" userId="857a8f7002735771" providerId="LiveId" clId="{77711C24-CE86-4310-83AB-2BFC8187209E}" dt="2018-11-14T21:59:59.343" v="11826" actId="6549"/>
          <ac:spMkLst>
            <pc:docMk/>
            <pc:sldMk cId="1242729408" sldId="709"/>
            <ac:spMk id="10" creationId="{2C7AEA98-D21F-4DB7-A04B-0F33DCBAAA7D}"/>
          </ac:spMkLst>
        </pc:spChg>
        <pc:spChg chg="add del">
          <ac:chgData name="Yakov Pakhomov" userId="857a8f7002735771" providerId="LiveId" clId="{77711C24-CE86-4310-83AB-2BFC8187209E}" dt="2018-11-16T08:35:05.326" v="28455" actId="478"/>
          <ac:spMkLst>
            <pc:docMk/>
            <pc:sldMk cId="1242729408" sldId="709"/>
            <ac:spMk id="11" creationId="{033BBC5A-17C7-4E39-8613-869DADF03D72}"/>
          </ac:spMkLst>
        </pc:spChg>
        <pc:spChg chg="add">
          <ac:chgData name="Yakov Pakhomov" userId="857a8f7002735771" providerId="LiveId" clId="{77711C24-CE86-4310-83AB-2BFC8187209E}" dt="2018-11-16T08:35:05.663" v="28456"/>
          <ac:spMkLst>
            <pc:docMk/>
            <pc:sldMk cId="1242729408" sldId="709"/>
            <ac:spMk id="12" creationId="{FE5C4EDF-24A2-410A-A7B1-8325777E4058}"/>
          </ac:spMkLst>
        </pc:spChg>
        <pc:graphicFrameChg chg="add mod ord">
          <ac:chgData name="Yakov Pakhomov" userId="857a8f7002735771" providerId="LiveId" clId="{77711C24-CE86-4310-83AB-2BFC8187209E}" dt="2018-11-14T22:00:03.937" v="11838"/>
          <ac:graphicFrameMkLst>
            <pc:docMk/>
            <pc:sldMk cId="1242729408" sldId="709"/>
            <ac:graphicFrameMk id="7" creationId="{5A5C1DF6-F836-4063-8E22-E2CED913EFF8}"/>
          </ac:graphicFrameMkLst>
        </pc:graphicFrameChg>
        <pc:picChg chg="add del mod">
          <ac:chgData name="Yakov Pakhomov" userId="857a8f7002735771" providerId="LiveId" clId="{77711C24-CE86-4310-83AB-2BFC8187209E}" dt="2018-11-14T21:58:47.572" v="11634" actId="478"/>
          <ac:picMkLst>
            <pc:docMk/>
            <pc:sldMk cId="1242729408" sldId="709"/>
            <ac:picMk id="3" creationId="{5B1EBD99-0AE0-4E87-8FF9-032CAA42FFC1}"/>
          </ac:picMkLst>
        </pc:picChg>
        <pc:picChg chg="add mod ord">
          <ac:chgData name="Yakov Pakhomov" userId="857a8f7002735771" providerId="LiveId" clId="{77711C24-CE86-4310-83AB-2BFC8187209E}" dt="2018-11-14T21:59:43.980" v="11743"/>
          <ac:picMkLst>
            <pc:docMk/>
            <pc:sldMk cId="1242729408" sldId="709"/>
            <ac:picMk id="4" creationId="{80203E94-CC06-4CDC-88E5-73842660454C}"/>
          </ac:picMkLst>
        </pc:picChg>
        <pc:picChg chg="add mod ord">
          <ac:chgData name="Yakov Pakhomov" userId="857a8f7002735771" providerId="LiveId" clId="{77711C24-CE86-4310-83AB-2BFC8187209E}" dt="2018-11-14T21:59:43.980" v="11745"/>
          <ac:picMkLst>
            <pc:docMk/>
            <pc:sldMk cId="1242729408" sldId="709"/>
            <ac:picMk id="5" creationId="{9A0EAD2B-B1D3-43DD-B8B3-A32CDA8EC57F}"/>
          </ac:picMkLst>
        </pc:picChg>
      </pc:sldChg>
      <pc:sldChg chg="addSp delSp modSp add ord modTransition">
        <pc:chgData name="Yakov Pakhomov" userId="857a8f7002735771" providerId="LiveId" clId="{77711C24-CE86-4310-83AB-2BFC8187209E}" dt="2018-11-15T12:02:29.915" v="26195"/>
        <pc:sldMkLst>
          <pc:docMk/>
          <pc:sldMk cId="3025461880" sldId="710"/>
        </pc:sldMkLst>
        <pc:spChg chg="mod ord">
          <ac:chgData name="Yakov Pakhomov" userId="857a8f7002735771" providerId="LiveId" clId="{77711C24-CE86-4310-83AB-2BFC8187209E}" dt="2018-11-15T12:02:29.870" v="26191"/>
          <ac:spMkLst>
            <pc:docMk/>
            <pc:sldMk cId="3025461880" sldId="710"/>
            <ac:spMk id="2" creationId="{75A40949-6845-4528-AD16-EE1EAA09DA69}"/>
          </ac:spMkLst>
        </pc:spChg>
        <pc:spChg chg="del mod ord">
          <ac:chgData name="Yakov Pakhomov" userId="857a8f7002735771" providerId="LiveId" clId="{77711C24-CE86-4310-83AB-2BFC8187209E}" dt="2018-11-15T09:28:36.443" v="20820"/>
          <ac:spMkLst>
            <pc:docMk/>
            <pc:sldMk cId="3025461880" sldId="710"/>
            <ac:spMk id="3" creationId="{E0E2D3F9-3529-4D5C-ABC0-6CDD69CEBC8F}"/>
          </ac:spMkLst>
        </pc:spChg>
        <pc:spChg chg="mod ord">
          <ac:chgData name="Yakov Pakhomov" userId="857a8f7002735771" providerId="LiveId" clId="{77711C24-CE86-4310-83AB-2BFC8187209E}" dt="2018-11-15T12:02:29.870" v="26191"/>
          <ac:spMkLst>
            <pc:docMk/>
            <pc:sldMk cId="3025461880" sldId="710"/>
            <ac:spMk id="4" creationId="{C2AF77FD-BE2B-4954-A24B-13B22C5BF045}"/>
          </ac:spMkLst>
        </pc:spChg>
        <pc:spChg chg="add mod ord">
          <ac:chgData name="Yakov Pakhomov" userId="857a8f7002735771" providerId="LiveId" clId="{77711C24-CE86-4310-83AB-2BFC8187209E}" dt="2018-11-15T12:02:29.870" v="26191"/>
          <ac:spMkLst>
            <pc:docMk/>
            <pc:sldMk cId="3025461880" sldId="710"/>
            <ac:spMk id="6" creationId="{1AF4FB3A-57C4-4B0A-B0C2-949FCF632E43}"/>
          </ac:spMkLst>
        </pc:spChg>
        <pc:spChg chg="add del mod ord">
          <ac:chgData name="Yakov Pakhomov" userId="857a8f7002735771" providerId="LiveId" clId="{77711C24-CE86-4310-83AB-2BFC8187209E}" dt="2018-11-14T22:26:44.196" v="19566"/>
          <ac:spMkLst>
            <pc:docMk/>
            <pc:sldMk cId="3025461880" sldId="710"/>
            <ac:spMk id="7" creationId="{6A4668A3-9AA6-47A8-9B0E-AEDFD0D97531}"/>
          </ac:spMkLst>
        </pc:spChg>
        <pc:spChg chg="add mod ord">
          <ac:chgData name="Yakov Pakhomov" userId="857a8f7002735771" providerId="LiveId" clId="{77711C24-CE86-4310-83AB-2BFC8187209E}" dt="2018-11-15T12:02:29.870" v="26191"/>
          <ac:spMkLst>
            <pc:docMk/>
            <pc:sldMk cId="3025461880" sldId="710"/>
            <ac:spMk id="8" creationId="{75BDCF36-6B32-4240-B5B0-45077A62042C}"/>
          </ac:spMkLst>
        </pc:spChg>
        <pc:spChg chg="add del mod ord">
          <ac:chgData name="Yakov Pakhomov" userId="857a8f7002735771" providerId="LiveId" clId="{77711C24-CE86-4310-83AB-2BFC8187209E}" dt="2018-11-15T09:21:32.288" v="20318"/>
          <ac:spMkLst>
            <pc:docMk/>
            <pc:sldMk cId="3025461880" sldId="710"/>
            <ac:spMk id="9" creationId="{82FA7CE2-A7F4-47AB-9818-759F7E82D954}"/>
          </ac:spMkLst>
        </pc:spChg>
        <pc:spChg chg="add del mod ord">
          <ac:chgData name="Yakov Pakhomov" userId="857a8f7002735771" providerId="LiveId" clId="{77711C24-CE86-4310-83AB-2BFC8187209E}" dt="2018-11-15T09:21:35.476" v="20561"/>
          <ac:spMkLst>
            <pc:docMk/>
            <pc:sldMk cId="3025461880" sldId="710"/>
            <ac:spMk id="10" creationId="{863FB504-970F-49D4-976F-802E8830B999}"/>
          </ac:spMkLst>
        </pc:spChg>
        <pc:spChg chg="add mod ord">
          <ac:chgData name="Yakov Pakhomov" userId="857a8f7002735771" providerId="LiveId" clId="{77711C24-CE86-4310-83AB-2BFC8187209E}" dt="2018-11-15T12:02:29.870" v="26191"/>
          <ac:spMkLst>
            <pc:docMk/>
            <pc:sldMk cId="3025461880" sldId="710"/>
            <ac:spMk id="11" creationId="{0AF798E6-2022-488F-AD59-BACBCDB19B4A}"/>
          </ac:spMkLst>
        </pc:spChg>
        <pc:spChg chg="add del mod ord">
          <ac:chgData name="Yakov Pakhomov" userId="857a8f7002735771" providerId="LiveId" clId="{77711C24-CE86-4310-83AB-2BFC8187209E}" dt="2018-11-15T09:28:50.824" v="21197"/>
          <ac:spMkLst>
            <pc:docMk/>
            <pc:sldMk cId="3025461880" sldId="710"/>
            <ac:spMk id="12" creationId="{C83841B4-F24C-4992-A153-167B7D126372}"/>
          </ac:spMkLst>
        </pc:spChg>
        <pc:spChg chg="add del mod ord">
          <ac:chgData name="Yakov Pakhomov" userId="857a8f7002735771" providerId="LiveId" clId="{77711C24-CE86-4310-83AB-2BFC8187209E}" dt="2018-11-15T09:30:18.007" v="23441"/>
          <ac:spMkLst>
            <pc:docMk/>
            <pc:sldMk cId="3025461880" sldId="710"/>
            <ac:spMk id="13" creationId="{520C5D23-FD19-45D3-9591-42EC6E93FD9B}"/>
          </ac:spMkLst>
        </pc:spChg>
        <pc:spChg chg="add del mod ord">
          <ac:chgData name="Yakov Pakhomov" userId="857a8f7002735771" providerId="LiveId" clId="{77711C24-CE86-4310-83AB-2BFC8187209E}" dt="2018-11-15T09:29:36.343" v="21939"/>
          <ac:spMkLst>
            <pc:docMk/>
            <pc:sldMk cId="3025461880" sldId="710"/>
            <ac:spMk id="14" creationId="{6F919FEE-6FD8-418C-8DA7-4A062EDE0995}"/>
          </ac:spMkLst>
        </pc:spChg>
        <pc:spChg chg="add del mod ord">
          <ac:chgData name="Yakov Pakhomov" userId="857a8f7002735771" providerId="LiveId" clId="{77711C24-CE86-4310-83AB-2BFC8187209E}" dt="2018-11-15T09:29:37.205" v="22052"/>
          <ac:spMkLst>
            <pc:docMk/>
            <pc:sldMk cId="3025461880" sldId="710"/>
            <ac:spMk id="15" creationId="{3F6903A9-2769-4AD9-8493-A778A94F6B96}"/>
          </ac:spMkLst>
        </pc:spChg>
        <pc:spChg chg="add del mod ord">
          <ac:chgData name="Yakov Pakhomov" userId="857a8f7002735771" providerId="LiveId" clId="{77711C24-CE86-4310-83AB-2BFC8187209E}" dt="2018-11-15T09:29:37.963" v="22166"/>
          <ac:spMkLst>
            <pc:docMk/>
            <pc:sldMk cId="3025461880" sldId="710"/>
            <ac:spMk id="16" creationId="{D514755A-278F-4265-8FD5-B94F3BB65EC6}"/>
          </ac:spMkLst>
        </pc:spChg>
        <pc:spChg chg="add del mod ord">
          <ac:chgData name="Yakov Pakhomov" userId="857a8f7002735771" providerId="LiveId" clId="{77711C24-CE86-4310-83AB-2BFC8187209E}" dt="2018-11-15T09:29:39.638" v="22285"/>
          <ac:spMkLst>
            <pc:docMk/>
            <pc:sldMk cId="3025461880" sldId="710"/>
            <ac:spMk id="17" creationId="{408919F1-5625-48B7-B5EB-75C9429BC188}"/>
          </ac:spMkLst>
        </pc:spChg>
        <pc:spChg chg="add del mod ord">
          <ac:chgData name="Yakov Pakhomov" userId="857a8f7002735771" providerId="LiveId" clId="{77711C24-CE86-4310-83AB-2BFC8187209E}" dt="2018-11-15T09:29:42.243" v="22404"/>
          <ac:spMkLst>
            <pc:docMk/>
            <pc:sldMk cId="3025461880" sldId="710"/>
            <ac:spMk id="18" creationId="{BFFF6867-0E0E-4EF2-8A9A-0733C1026751}"/>
          </ac:spMkLst>
        </pc:spChg>
        <pc:spChg chg="add del mod ord">
          <ac:chgData name="Yakov Pakhomov" userId="857a8f7002735771" providerId="LiveId" clId="{77711C24-CE86-4310-83AB-2BFC8187209E}" dt="2018-11-15T09:29:43.514" v="22518"/>
          <ac:spMkLst>
            <pc:docMk/>
            <pc:sldMk cId="3025461880" sldId="710"/>
            <ac:spMk id="19" creationId="{A1FD0334-6E6F-4131-A82D-1B999ADE1CCC}"/>
          </ac:spMkLst>
        </pc:spChg>
        <pc:spChg chg="add del mod ord">
          <ac:chgData name="Yakov Pakhomov" userId="857a8f7002735771" providerId="LiveId" clId="{77711C24-CE86-4310-83AB-2BFC8187209E}" dt="2018-11-15T09:29:44.395" v="22632"/>
          <ac:spMkLst>
            <pc:docMk/>
            <pc:sldMk cId="3025461880" sldId="710"/>
            <ac:spMk id="20" creationId="{7446082C-3335-4C07-88C9-4C308C40A5DE}"/>
          </ac:spMkLst>
        </pc:spChg>
        <pc:spChg chg="add del mod ord">
          <ac:chgData name="Yakov Pakhomov" userId="857a8f7002735771" providerId="LiveId" clId="{77711C24-CE86-4310-83AB-2BFC8187209E}" dt="2018-11-15T09:29:45.541" v="22746"/>
          <ac:spMkLst>
            <pc:docMk/>
            <pc:sldMk cId="3025461880" sldId="710"/>
            <ac:spMk id="21" creationId="{FE43C8E2-B174-4C6E-8343-B5A147252544}"/>
          </ac:spMkLst>
        </pc:spChg>
        <pc:spChg chg="add del mod ord">
          <ac:chgData name="Yakov Pakhomov" userId="857a8f7002735771" providerId="LiveId" clId="{77711C24-CE86-4310-83AB-2BFC8187209E}" dt="2018-11-15T09:29:47.375" v="22860"/>
          <ac:spMkLst>
            <pc:docMk/>
            <pc:sldMk cId="3025461880" sldId="710"/>
            <ac:spMk id="22" creationId="{F4741F6E-6225-4BD9-9C2E-59E8E250511C}"/>
          </ac:spMkLst>
        </pc:spChg>
        <pc:spChg chg="add del mod ord">
          <ac:chgData name="Yakov Pakhomov" userId="857a8f7002735771" providerId="LiveId" clId="{77711C24-CE86-4310-83AB-2BFC8187209E}" dt="2018-11-15T09:29:55.979" v="22973"/>
          <ac:spMkLst>
            <pc:docMk/>
            <pc:sldMk cId="3025461880" sldId="710"/>
            <ac:spMk id="23" creationId="{C7B8EC2B-77B7-4086-B95E-B706EF42E86B}"/>
          </ac:spMkLst>
        </pc:spChg>
        <pc:spChg chg="add del mod ord">
          <ac:chgData name="Yakov Pakhomov" userId="857a8f7002735771" providerId="LiveId" clId="{77711C24-CE86-4310-83AB-2BFC8187209E}" dt="2018-11-15T12:02:29.870" v="26191"/>
          <ac:spMkLst>
            <pc:docMk/>
            <pc:sldMk cId="3025461880" sldId="710"/>
            <ac:spMk id="24" creationId="{E9A68B4F-EF79-47CF-8E1B-CEC53E914595}"/>
          </ac:spMkLst>
        </pc:spChg>
        <pc:spChg chg="add del mod ord">
          <ac:chgData name="Yakov Pakhomov" userId="857a8f7002735771" providerId="LiveId" clId="{77711C24-CE86-4310-83AB-2BFC8187209E}" dt="2018-11-15T09:30:21.992" v="23864"/>
          <ac:spMkLst>
            <pc:docMk/>
            <pc:sldMk cId="3025461880" sldId="710"/>
            <ac:spMk id="25" creationId="{98DA5461-DD98-4802-B21A-0A4E2230D765}"/>
          </ac:spMkLst>
        </pc:spChg>
        <pc:spChg chg="add del mod ord">
          <ac:chgData name="Yakov Pakhomov" userId="857a8f7002735771" providerId="LiveId" clId="{77711C24-CE86-4310-83AB-2BFC8187209E}" dt="2018-11-15T09:30:36.125" v="24108"/>
          <ac:spMkLst>
            <pc:docMk/>
            <pc:sldMk cId="3025461880" sldId="710"/>
            <ac:spMk id="26" creationId="{8B6500D0-C38E-42AA-9465-913B3D8B812A}"/>
          </ac:spMkLst>
        </pc:spChg>
        <pc:spChg chg="add del mod ord">
          <ac:chgData name="Yakov Pakhomov" userId="857a8f7002735771" providerId="LiveId" clId="{77711C24-CE86-4310-83AB-2BFC8187209E}" dt="2018-11-15T09:54:46.611" v="24834"/>
          <ac:spMkLst>
            <pc:docMk/>
            <pc:sldMk cId="3025461880" sldId="710"/>
            <ac:spMk id="27" creationId="{919DDB26-65A2-48C0-8961-A618CD402C40}"/>
          </ac:spMkLst>
        </pc:spChg>
        <pc:graphicFrameChg chg="mod ord">
          <ac:chgData name="Yakov Pakhomov" userId="857a8f7002735771" providerId="LiveId" clId="{77711C24-CE86-4310-83AB-2BFC8187209E}" dt="2018-11-15T12:02:29.915" v="26195"/>
          <ac:graphicFrameMkLst>
            <pc:docMk/>
            <pc:sldMk cId="3025461880" sldId="710"/>
            <ac:graphicFrameMk id="5" creationId="{F65593A0-7B9E-41CD-8C39-B260645020DC}"/>
          </ac:graphicFrameMkLst>
        </pc:graphicFrameChg>
      </pc:sldChg>
      <pc:sldChg chg="addSp delSp modSp add ord modTransition">
        <pc:chgData name="Yakov Pakhomov" userId="857a8f7002735771" providerId="LiveId" clId="{77711C24-CE86-4310-83AB-2BFC8187209E}" dt="2018-11-15T14:35:58.162" v="27593"/>
        <pc:sldMkLst>
          <pc:docMk/>
          <pc:sldMk cId="649853482" sldId="711"/>
        </pc:sldMkLst>
        <pc:spChg chg="del">
          <ac:chgData name="Yakov Pakhomov" userId="857a8f7002735771" providerId="LiveId" clId="{77711C24-CE86-4310-83AB-2BFC8187209E}" dt="2018-11-15T13:33:23.899" v="26874" actId="478"/>
          <ac:spMkLst>
            <pc:docMk/>
            <pc:sldMk cId="649853482" sldId="711"/>
            <ac:spMk id="2" creationId="{CAC4DBFF-4F58-4BE1-B25D-5ACD653E5839}"/>
          </ac:spMkLst>
        </pc:spChg>
        <pc:spChg chg="add del">
          <ac:chgData name="Yakov Pakhomov" userId="857a8f7002735771" providerId="LiveId" clId="{77711C24-CE86-4310-83AB-2BFC8187209E}" dt="2018-11-14T22:02:41.697" v="12043"/>
          <ac:spMkLst>
            <pc:docMk/>
            <pc:sldMk cId="649853482" sldId="711"/>
            <ac:spMk id="3" creationId="{29A1F541-9FF4-4418-8EAF-54006AA71EA1}"/>
          </ac:spMkLst>
        </pc:spChg>
        <pc:spChg chg="add del mod">
          <ac:chgData name="Yakov Pakhomov" userId="857a8f7002735771" providerId="LiveId" clId="{77711C24-CE86-4310-83AB-2BFC8187209E}" dt="2018-11-15T13:33:17.061" v="26872" actId="1076"/>
          <ac:spMkLst>
            <pc:docMk/>
            <pc:sldMk cId="649853482" sldId="711"/>
            <ac:spMk id="4" creationId="{98E59349-38EC-481C-902C-0241546E7850}"/>
          </ac:spMkLst>
        </pc:spChg>
        <pc:spChg chg="add mod">
          <ac:chgData name="Yakov Pakhomov" userId="857a8f7002735771" providerId="LiveId" clId="{77711C24-CE86-4310-83AB-2BFC8187209E}" dt="2018-11-15T13:33:21.189" v="26873" actId="1076"/>
          <ac:spMkLst>
            <pc:docMk/>
            <pc:sldMk cId="649853482" sldId="711"/>
            <ac:spMk id="5" creationId="{7EE0689E-CFA5-49DF-8692-FD620A8DF500}"/>
          </ac:spMkLst>
        </pc:spChg>
        <pc:spChg chg="add del">
          <ac:chgData name="Yakov Pakhomov" userId="857a8f7002735771" providerId="LiveId" clId="{77711C24-CE86-4310-83AB-2BFC8187209E}" dt="2018-11-14T22:03:38.663" v="12053"/>
          <ac:spMkLst>
            <pc:docMk/>
            <pc:sldMk cId="649853482" sldId="711"/>
            <ac:spMk id="6" creationId="{9DB5CA91-3364-4624-9F1C-B66A1E56CA4D}"/>
          </ac:spMkLst>
        </pc:spChg>
        <pc:spChg chg="add mod">
          <ac:chgData name="Yakov Pakhomov" userId="857a8f7002735771" providerId="LiveId" clId="{77711C24-CE86-4310-83AB-2BFC8187209E}" dt="2018-11-15T13:33:17.061" v="26872" actId="1076"/>
          <ac:spMkLst>
            <pc:docMk/>
            <pc:sldMk cId="649853482" sldId="711"/>
            <ac:spMk id="7" creationId="{2CCACE34-18FE-450A-B018-3021A6DDAC85}"/>
          </ac:spMkLst>
        </pc:spChg>
        <pc:spChg chg="add del">
          <ac:chgData name="Yakov Pakhomov" userId="857a8f7002735771" providerId="LiveId" clId="{77711C24-CE86-4310-83AB-2BFC8187209E}" dt="2018-11-14T22:03:49.293" v="12057"/>
          <ac:spMkLst>
            <pc:docMk/>
            <pc:sldMk cId="649853482" sldId="711"/>
            <ac:spMk id="8" creationId="{1E22238F-88B7-48B9-B4FD-38BFDDCCABD5}"/>
          </ac:spMkLst>
        </pc:spChg>
        <pc:spChg chg="add mod">
          <ac:chgData name="Yakov Pakhomov" userId="857a8f7002735771" providerId="LiveId" clId="{77711C24-CE86-4310-83AB-2BFC8187209E}" dt="2018-11-15T13:33:21.189" v="26873" actId="1076"/>
          <ac:spMkLst>
            <pc:docMk/>
            <pc:sldMk cId="649853482" sldId="711"/>
            <ac:spMk id="9" creationId="{3E7CF70C-5D30-4F63-A9DB-97D9B92E1214}"/>
          </ac:spMkLst>
        </pc:spChg>
        <pc:graphicFrameChg chg="add mod ord">
          <ac:chgData name="Yakov Pakhomov" userId="857a8f7002735771" providerId="LiveId" clId="{77711C24-CE86-4310-83AB-2BFC8187209E}" dt="2018-11-15T13:33:24.536" v="26888"/>
          <ac:graphicFrameMkLst>
            <pc:docMk/>
            <pc:sldMk cId="649853482" sldId="711"/>
            <ac:graphicFrameMk id="10" creationId="{CDD4EC19-6F0D-47BA-8024-14723E3DE4D9}"/>
          </ac:graphicFrameMkLst>
        </pc:graphicFrameChg>
      </pc:sldChg>
      <pc:sldChg chg="addSp delSp modSp add ord">
        <pc:chgData name="Yakov Pakhomov" userId="857a8f7002735771" providerId="LiveId" clId="{77711C24-CE86-4310-83AB-2BFC8187209E}" dt="2018-11-16T08:44:47.019" v="28912"/>
        <pc:sldMkLst>
          <pc:docMk/>
          <pc:sldMk cId="1375691881" sldId="712"/>
        </pc:sldMkLst>
        <pc:spChg chg="mod ord">
          <ac:chgData name="Yakov Pakhomov" userId="857a8f7002735771" providerId="LiveId" clId="{77711C24-CE86-4310-83AB-2BFC8187209E}" dt="2018-11-16T08:44:46.998" v="28863"/>
          <ac:spMkLst>
            <pc:docMk/>
            <pc:sldMk cId="1375691881" sldId="712"/>
            <ac:spMk id="2" creationId="{23CFA5F0-8353-478D-AA04-5E04C4644BAD}"/>
          </ac:spMkLst>
        </pc:spChg>
        <pc:spChg chg="add mod ord">
          <ac:chgData name="Yakov Pakhomov" userId="857a8f7002735771" providerId="LiveId" clId="{77711C24-CE86-4310-83AB-2BFC8187209E}" dt="2018-11-16T08:44:47.010" v="28890"/>
          <ac:spMkLst>
            <pc:docMk/>
            <pc:sldMk cId="1375691881" sldId="712"/>
            <ac:spMk id="3" creationId="{222508AF-3F31-4A2E-8A0C-2FDD9C02EF92}"/>
          </ac:spMkLst>
        </pc:spChg>
        <pc:spChg chg="add mod ord">
          <ac:chgData name="Yakov Pakhomov" userId="857a8f7002735771" providerId="LiveId" clId="{77711C24-CE86-4310-83AB-2BFC8187209E}" dt="2018-11-16T08:44:46.998" v="28861"/>
          <ac:spMkLst>
            <pc:docMk/>
            <pc:sldMk cId="1375691881" sldId="712"/>
            <ac:spMk id="4" creationId="{EFF47EF2-418E-4B85-A4B6-E998C240FA7A}"/>
          </ac:spMkLst>
        </pc:spChg>
        <pc:spChg chg="add del mod ord">
          <ac:chgData name="Yakov Pakhomov" userId="857a8f7002735771" providerId="LiveId" clId="{77711C24-CE86-4310-83AB-2BFC8187209E}" dt="2018-11-14T22:19:28.953" v="12475"/>
          <ac:spMkLst>
            <pc:docMk/>
            <pc:sldMk cId="1375691881" sldId="712"/>
            <ac:spMk id="5" creationId="{ECC2F0FA-0970-4393-B72D-0D019D4BAEB2}"/>
          </ac:spMkLst>
        </pc:spChg>
        <pc:spChg chg="add del mod ord">
          <ac:chgData name="Yakov Pakhomov" userId="857a8f7002735771" providerId="LiveId" clId="{77711C24-CE86-4310-83AB-2BFC8187209E}" dt="2018-11-14T22:19:28.956" v="12477"/>
          <ac:spMkLst>
            <pc:docMk/>
            <pc:sldMk cId="1375691881" sldId="712"/>
            <ac:spMk id="6" creationId="{A9BC6F43-FCC6-432D-A005-36D710B85090}"/>
          </ac:spMkLst>
        </pc:spChg>
        <pc:spChg chg="add mod ord">
          <ac:chgData name="Yakov Pakhomov" userId="857a8f7002735771" providerId="LiveId" clId="{77711C24-CE86-4310-83AB-2BFC8187209E}" dt="2018-11-16T08:44:47.010" v="28892"/>
          <ac:spMkLst>
            <pc:docMk/>
            <pc:sldMk cId="1375691881" sldId="712"/>
            <ac:spMk id="14" creationId="{B6F55E16-C05D-4AA5-8C64-F90E4C471644}"/>
          </ac:spMkLst>
        </pc:spChg>
        <pc:spChg chg="add mod ord">
          <ac:chgData name="Yakov Pakhomov" userId="857a8f7002735771" providerId="LiveId" clId="{77711C24-CE86-4310-83AB-2BFC8187209E}" dt="2018-11-16T08:44:47.015" v="28908"/>
          <ac:spMkLst>
            <pc:docMk/>
            <pc:sldMk cId="1375691881" sldId="712"/>
            <ac:spMk id="19" creationId="{F748200B-5835-478B-AA70-94956B02F741}"/>
          </ac:spMkLst>
        </pc:spChg>
        <pc:spChg chg="add mod ord">
          <ac:chgData name="Yakov Pakhomov" userId="857a8f7002735771" providerId="LiveId" clId="{77711C24-CE86-4310-83AB-2BFC8187209E}" dt="2018-11-16T08:44:47.013" v="28904"/>
          <ac:spMkLst>
            <pc:docMk/>
            <pc:sldMk cId="1375691881" sldId="712"/>
            <ac:spMk id="21" creationId="{E999FB91-58C4-4E03-A9CC-CA1B25AEFFA8}"/>
          </ac:spMkLst>
        </pc:spChg>
        <pc:spChg chg="add mod ord">
          <ac:chgData name="Yakov Pakhomov" userId="857a8f7002735771" providerId="LiveId" clId="{77711C24-CE86-4310-83AB-2BFC8187209E}" dt="2018-11-16T08:44:47.015" v="28910"/>
          <ac:spMkLst>
            <pc:docMk/>
            <pc:sldMk cId="1375691881" sldId="712"/>
            <ac:spMk id="22" creationId="{8E65EEF3-E518-453D-9A34-987E4443B558}"/>
          </ac:spMkLst>
        </pc:spChg>
        <pc:spChg chg="add mod ord">
          <ac:chgData name="Yakov Pakhomov" userId="857a8f7002735771" providerId="LiveId" clId="{77711C24-CE86-4310-83AB-2BFC8187209E}" dt="2018-11-16T08:44:47.014" v="28906"/>
          <ac:spMkLst>
            <pc:docMk/>
            <pc:sldMk cId="1375691881" sldId="712"/>
            <ac:spMk id="24" creationId="{03F45B15-5F5D-4E76-9A24-35E0BB82DEF6}"/>
          </ac:spMkLst>
        </pc:spChg>
        <pc:spChg chg="add mod ord">
          <ac:chgData name="Yakov Pakhomov" userId="857a8f7002735771" providerId="LiveId" clId="{77711C24-CE86-4310-83AB-2BFC8187209E}" dt="2018-11-16T08:44:47.006" v="28884"/>
          <ac:spMkLst>
            <pc:docMk/>
            <pc:sldMk cId="1375691881" sldId="712"/>
            <ac:spMk id="25" creationId="{EFF5A547-DFBD-482B-8D59-78DD3CD63ED2}"/>
          </ac:spMkLst>
        </pc:spChg>
        <pc:spChg chg="add mod ord">
          <ac:chgData name="Yakov Pakhomov" userId="857a8f7002735771" providerId="LiveId" clId="{77711C24-CE86-4310-83AB-2BFC8187209E}" dt="2018-11-16T08:44:47.009" v="28888"/>
          <ac:spMkLst>
            <pc:docMk/>
            <pc:sldMk cId="1375691881" sldId="712"/>
            <ac:spMk id="27" creationId="{9B48A5C5-E1A8-4582-AE8D-54B1C7F0ED49}"/>
          </ac:spMkLst>
        </pc:spChg>
        <pc:spChg chg="add mod ord">
          <ac:chgData name="Yakov Pakhomov" userId="857a8f7002735771" providerId="LiveId" clId="{77711C24-CE86-4310-83AB-2BFC8187209E}" dt="2018-11-16T08:44:47.011" v="28894"/>
          <ac:spMkLst>
            <pc:docMk/>
            <pc:sldMk cId="1375691881" sldId="712"/>
            <ac:spMk id="28" creationId="{48C540D8-3868-4431-99CE-EAAF89A6ECE3}"/>
          </ac:spMkLst>
        </pc:spChg>
        <pc:spChg chg="add mod ord">
          <ac:chgData name="Yakov Pakhomov" userId="857a8f7002735771" providerId="LiveId" clId="{77711C24-CE86-4310-83AB-2BFC8187209E}" dt="2018-11-16T08:44:47.011" v="28896"/>
          <ac:spMkLst>
            <pc:docMk/>
            <pc:sldMk cId="1375691881" sldId="712"/>
            <ac:spMk id="29" creationId="{C9C263F6-C941-43FA-9E97-093978C3C448}"/>
          </ac:spMkLst>
        </pc:spChg>
        <pc:spChg chg="add mod ord">
          <ac:chgData name="Yakov Pakhomov" userId="857a8f7002735771" providerId="LiveId" clId="{77711C24-CE86-4310-83AB-2BFC8187209E}" dt="2018-11-16T08:44:47.007" v="28886"/>
          <ac:spMkLst>
            <pc:docMk/>
            <pc:sldMk cId="1375691881" sldId="712"/>
            <ac:spMk id="35" creationId="{034550DF-B1AC-4C77-A513-42093F40312D}"/>
          </ac:spMkLst>
        </pc:spChg>
        <pc:spChg chg="add mod ord">
          <ac:chgData name="Yakov Pakhomov" userId="857a8f7002735771" providerId="LiveId" clId="{77711C24-CE86-4310-83AB-2BFC8187209E}" dt="2018-11-16T08:44:47.012" v="28898"/>
          <ac:spMkLst>
            <pc:docMk/>
            <pc:sldMk cId="1375691881" sldId="712"/>
            <ac:spMk id="51" creationId="{64CBBDD1-798E-4DC9-BEB6-653D415EA616}"/>
          </ac:spMkLst>
        </pc:spChg>
        <pc:spChg chg="add del mod ord">
          <ac:chgData name="Yakov Pakhomov" userId="857a8f7002735771" providerId="LiveId" clId="{77711C24-CE86-4310-83AB-2BFC8187209E}" dt="2018-11-14T22:22:30.517" v="15320"/>
          <ac:spMkLst>
            <pc:docMk/>
            <pc:sldMk cId="1375691881" sldId="712"/>
            <ac:spMk id="56" creationId="{A9C4536D-4242-4D2A-B287-51654885D11D}"/>
          </ac:spMkLst>
        </pc:spChg>
        <pc:spChg chg="add mod ord">
          <ac:chgData name="Yakov Pakhomov" userId="857a8f7002735771" providerId="LiveId" clId="{77711C24-CE86-4310-83AB-2BFC8187209E}" dt="2018-11-16T08:44:47.012" v="28900"/>
          <ac:spMkLst>
            <pc:docMk/>
            <pc:sldMk cId="1375691881" sldId="712"/>
            <ac:spMk id="63" creationId="{7A1C5147-74B4-43E4-B7F3-C82DF7EA1E61}"/>
          </ac:spMkLst>
        </pc:spChg>
        <pc:spChg chg="add mod ord">
          <ac:chgData name="Yakov Pakhomov" userId="857a8f7002735771" providerId="LiveId" clId="{77711C24-CE86-4310-83AB-2BFC8187209E}" dt="2018-11-16T08:44:47.013" v="28902"/>
          <ac:spMkLst>
            <pc:docMk/>
            <pc:sldMk cId="1375691881" sldId="712"/>
            <ac:spMk id="69" creationId="{B62C4451-417C-4F68-B0E4-C1B2ABDD2D9A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75" creationId="{FC1D62B0-15C6-4D3F-9C7B-3C22F54C59A2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76" creationId="{F064E962-FEE8-4224-8408-7D9E575914E4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77" creationId="{3E5E4ABB-9C35-4C52-8893-5BA0D31CB055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78" creationId="{55D73EDC-DD0B-403C-A6D8-DCF806B0793C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79" creationId="{59C804E6-978F-4B09-AA36-8EA8046ED7AC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80" creationId="{F004A5D8-ADB8-43AA-BF78-4F635D79EC61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81" creationId="{7957637E-8360-47F7-B4A4-44615A725224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82" creationId="{D4E836F2-FC87-4D04-BCB2-83C94947C292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83" creationId="{8CBF3E02-D6F7-4C12-AB71-480CDC1A8A4B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84" creationId="{0CC56AAE-E656-425F-91FC-D986CF7CACEA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85" creationId="{C01CF885-2558-4E0F-8E62-763A16AB14F6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86" creationId="{73E5088B-3342-4C57-8995-13F4E6FFCCBD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87" creationId="{4131D703-AA55-46CF-A542-35FD859CC233}"/>
          </ac:spMkLst>
        </pc:spChg>
        <pc:spChg chg="add mod ord">
          <ac:chgData name="Yakov Pakhomov" userId="857a8f7002735771" providerId="LiveId" clId="{77711C24-CE86-4310-83AB-2BFC8187209E}" dt="2018-11-14T22:23:22.206" v="18319"/>
          <ac:spMkLst>
            <pc:docMk/>
            <pc:sldMk cId="1375691881" sldId="712"/>
            <ac:spMk id="88" creationId="{A22375AD-0203-48DF-B510-6F7A40B3CA1C}"/>
          </ac:spMkLst>
        </pc:spChg>
        <pc:graphicFrameChg chg="add del mod">
          <ac:chgData name="Yakov Pakhomov" userId="857a8f7002735771" providerId="LiveId" clId="{77711C24-CE86-4310-83AB-2BFC8187209E}" dt="2018-11-14T22:19:02.171" v="12405"/>
          <ac:graphicFrameMkLst>
            <pc:docMk/>
            <pc:sldMk cId="1375691881" sldId="712"/>
            <ac:graphicFrameMk id="7" creationId="{815B3A53-CAEE-495D-AE8E-2A33DB444858}"/>
          </ac:graphicFrameMkLst>
        </pc:graphicFrameChg>
        <pc:graphicFrameChg chg="add mod ord">
          <ac:chgData name="Yakov Pakhomov" userId="857a8f7002735771" providerId="LiveId" clId="{77711C24-CE86-4310-83AB-2BFC8187209E}" dt="2018-11-16T08:44:47.019" v="28912"/>
          <ac:graphicFrameMkLst>
            <pc:docMk/>
            <pc:sldMk cId="1375691881" sldId="712"/>
            <ac:graphicFrameMk id="8" creationId="{2A4172F8-E949-4478-A91D-1FA604D7A498}"/>
          </ac:graphicFrameMkLst>
        </pc:graphicFrameChg>
        <pc:graphicFrameChg chg="add del mod">
          <ac:chgData name="Yakov Pakhomov" userId="857a8f7002735771" providerId="LiveId" clId="{77711C24-CE86-4310-83AB-2BFC8187209E}" dt="2018-11-14T22:19:05.606" v="12426"/>
          <ac:graphicFrameMkLst>
            <pc:docMk/>
            <pc:sldMk cId="1375691881" sldId="712"/>
            <ac:graphicFrameMk id="9" creationId="{CC450D8B-1F8F-4CA6-9F0C-2944FB11C7CE}"/>
          </ac:graphicFrameMkLst>
        </pc:graphicFrameChg>
        <pc:graphicFrameChg chg="add del mod">
          <ac:chgData name="Yakov Pakhomov" userId="857a8f7002735771" providerId="LiveId" clId="{77711C24-CE86-4310-83AB-2BFC8187209E}" dt="2018-11-14T22:19:28.960" v="12482"/>
          <ac:graphicFrameMkLst>
            <pc:docMk/>
            <pc:sldMk cId="1375691881" sldId="712"/>
            <ac:graphicFrameMk id="10" creationId="{D1CFA6A2-BFA9-4DD6-8486-ABC9B59F7DB1}"/>
          </ac:graphicFrameMkLst>
        </pc:graphicFrameChg>
        <pc:graphicFrameChg chg="add del mod">
          <ac:chgData name="Yakov Pakhomov" userId="857a8f7002735771" providerId="LiveId" clId="{77711C24-CE86-4310-83AB-2BFC8187209E}" dt="2018-11-14T22:19:55.974" v="12509"/>
          <ac:graphicFrameMkLst>
            <pc:docMk/>
            <pc:sldMk cId="1375691881" sldId="712"/>
            <ac:graphicFrameMk id="11" creationId="{D6F95CA4-D367-4DE2-A143-5D9279EEF77A}"/>
          </ac:graphicFrameMkLst>
        </pc:graphicFrameChg>
        <pc:graphicFrameChg chg="add del mod">
          <ac:chgData name="Yakov Pakhomov" userId="857a8f7002735771" providerId="LiveId" clId="{77711C24-CE86-4310-83AB-2BFC8187209E}" dt="2018-11-14T22:19:58.761" v="12524"/>
          <ac:graphicFrameMkLst>
            <pc:docMk/>
            <pc:sldMk cId="1375691881" sldId="712"/>
            <ac:graphicFrameMk id="12" creationId="{6C3A6A0B-40D7-4C9E-929C-838727502A86}"/>
          </ac:graphicFrameMkLst>
        </pc:graphicFrameChg>
        <pc:graphicFrameChg chg="add del mod">
          <ac:chgData name="Yakov Pakhomov" userId="857a8f7002735771" providerId="LiveId" clId="{77711C24-CE86-4310-83AB-2BFC8187209E}" dt="2018-11-14T22:20:09.362" v="12577"/>
          <ac:graphicFrameMkLst>
            <pc:docMk/>
            <pc:sldMk cId="1375691881" sldId="712"/>
            <ac:graphicFrameMk id="13" creationId="{0B92BC73-40DF-406A-B467-410E531C1486}"/>
          </ac:graphicFrameMkLst>
        </pc:graphicFrameChg>
        <pc:graphicFrameChg chg="add del mod">
          <ac:chgData name="Yakov Pakhomov" userId="857a8f7002735771" providerId="LiveId" clId="{77711C24-CE86-4310-83AB-2BFC8187209E}" dt="2018-11-14T22:20:12.086" v="12594"/>
          <ac:graphicFrameMkLst>
            <pc:docMk/>
            <pc:sldMk cId="1375691881" sldId="712"/>
            <ac:graphicFrameMk id="15" creationId="{709C43EB-E21E-49B0-95D4-23A283CCF3D1}"/>
          </ac:graphicFrameMkLst>
        </pc:graphicFrameChg>
        <pc:graphicFrameChg chg="add del mod">
          <ac:chgData name="Yakov Pakhomov" userId="857a8f7002735771" providerId="LiveId" clId="{77711C24-CE86-4310-83AB-2BFC8187209E}" dt="2018-11-14T22:20:13.772" v="12611"/>
          <ac:graphicFrameMkLst>
            <pc:docMk/>
            <pc:sldMk cId="1375691881" sldId="712"/>
            <ac:graphicFrameMk id="16" creationId="{4F738F5A-B1F5-4497-A825-B61340FD6690}"/>
          </ac:graphicFrameMkLst>
        </pc:graphicFrameChg>
        <pc:graphicFrameChg chg="add del mod">
          <ac:chgData name="Yakov Pakhomov" userId="857a8f7002735771" providerId="LiveId" clId="{77711C24-CE86-4310-83AB-2BFC8187209E}" dt="2018-11-14T22:20:15.275" v="12628"/>
          <ac:graphicFrameMkLst>
            <pc:docMk/>
            <pc:sldMk cId="1375691881" sldId="712"/>
            <ac:graphicFrameMk id="17" creationId="{493D67CC-E946-4087-90BD-6DA98452F26B}"/>
          </ac:graphicFrameMkLst>
        </pc:graphicFrameChg>
        <pc:graphicFrameChg chg="add del mod">
          <ac:chgData name="Yakov Pakhomov" userId="857a8f7002735771" providerId="LiveId" clId="{77711C24-CE86-4310-83AB-2BFC8187209E}" dt="2018-11-14T22:20:29.037" v="12700"/>
          <ac:graphicFrameMkLst>
            <pc:docMk/>
            <pc:sldMk cId="1375691881" sldId="712"/>
            <ac:graphicFrameMk id="18" creationId="{3E0B135E-FD48-4CAB-B850-CDD592F2385C}"/>
          </ac:graphicFrameMkLst>
        </pc:graphicFrameChg>
        <pc:graphicFrameChg chg="add del mod">
          <ac:chgData name="Yakov Pakhomov" userId="857a8f7002735771" providerId="LiveId" clId="{77711C24-CE86-4310-83AB-2BFC8187209E}" dt="2018-11-14T22:20:41.645" v="12762"/>
          <ac:graphicFrameMkLst>
            <pc:docMk/>
            <pc:sldMk cId="1375691881" sldId="712"/>
            <ac:graphicFrameMk id="20" creationId="{225ACF52-4930-47D3-AE19-1A30A144A895}"/>
          </ac:graphicFrameMkLst>
        </pc:graphicFrameChg>
        <pc:graphicFrameChg chg="add del mod">
          <ac:chgData name="Yakov Pakhomov" userId="857a8f7002735771" providerId="LiveId" clId="{77711C24-CE86-4310-83AB-2BFC8187209E}" dt="2018-11-14T22:20:47.122" v="12876"/>
          <ac:graphicFrameMkLst>
            <pc:docMk/>
            <pc:sldMk cId="1375691881" sldId="712"/>
            <ac:graphicFrameMk id="23" creationId="{A81117DC-C2BF-441C-AFE1-6D19F956C1D6}"/>
          </ac:graphicFrameMkLst>
        </pc:graphicFrameChg>
        <pc:graphicFrameChg chg="add del mod">
          <ac:chgData name="Yakov Pakhomov" userId="857a8f7002735771" providerId="LiveId" clId="{77711C24-CE86-4310-83AB-2BFC8187209E}" dt="2018-11-14T22:20:50.240" v="13219"/>
          <ac:graphicFrameMkLst>
            <pc:docMk/>
            <pc:sldMk cId="1375691881" sldId="712"/>
            <ac:graphicFrameMk id="26" creationId="{6DCAA81B-BCA9-4BC2-AC34-F1F5E9FD3DC1}"/>
          </ac:graphicFrameMkLst>
        </pc:graphicFrameChg>
        <pc:graphicFrameChg chg="add del mod">
          <ac:chgData name="Yakov Pakhomov" userId="857a8f7002735771" providerId="LiveId" clId="{77711C24-CE86-4310-83AB-2BFC8187209E}" dt="2018-11-14T22:20:50.949" v="13252"/>
          <ac:graphicFrameMkLst>
            <pc:docMk/>
            <pc:sldMk cId="1375691881" sldId="712"/>
            <ac:graphicFrameMk id="30" creationId="{A92C20A0-C94B-46AE-92A3-59143D6D12C6}"/>
          </ac:graphicFrameMkLst>
        </pc:graphicFrameChg>
        <pc:graphicFrameChg chg="add mod">
          <ac:chgData name="Yakov Pakhomov" userId="857a8f7002735771" providerId="LiveId" clId="{77711C24-CE86-4310-83AB-2BFC8187209E}" dt="2018-11-16T08:44:46.999" v="28864"/>
          <ac:graphicFrameMkLst>
            <pc:docMk/>
            <pc:sldMk cId="1375691881" sldId="712"/>
            <ac:graphicFrameMk id="30" creationId="{E2A95B99-C883-4C43-856D-709B9C076045}"/>
          </ac:graphicFrameMkLst>
        </pc:graphicFrameChg>
        <pc:graphicFrameChg chg="add del mod">
          <ac:chgData name="Yakov Pakhomov" userId="857a8f7002735771" providerId="LiveId" clId="{77711C24-CE86-4310-83AB-2BFC8187209E}" dt="2018-11-14T22:20:54.581" v="13309"/>
          <ac:graphicFrameMkLst>
            <pc:docMk/>
            <pc:sldMk cId="1375691881" sldId="712"/>
            <ac:graphicFrameMk id="31" creationId="{1321D6F8-00B9-4C5B-B677-10C97B68B809}"/>
          </ac:graphicFrameMkLst>
        </pc:graphicFrameChg>
        <pc:graphicFrameChg chg="add del mod">
          <ac:chgData name="Yakov Pakhomov" userId="857a8f7002735771" providerId="LiveId" clId="{77711C24-CE86-4310-83AB-2BFC8187209E}" dt="2018-11-14T22:20:56.305" v="13362"/>
          <ac:graphicFrameMkLst>
            <pc:docMk/>
            <pc:sldMk cId="1375691881" sldId="712"/>
            <ac:graphicFrameMk id="32" creationId="{D1D130E2-3E0C-44D0-8CF2-913ADD7A114D}"/>
          </ac:graphicFrameMkLst>
        </pc:graphicFrameChg>
        <pc:graphicFrameChg chg="add del mod">
          <ac:chgData name="Yakov Pakhomov" userId="857a8f7002735771" providerId="LiveId" clId="{77711C24-CE86-4310-83AB-2BFC8187209E}" dt="2018-11-14T22:21:00.597" v="13451"/>
          <ac:graphicFrameMkLst>
            <pc:docMk/>
            <pc:sldMk cId="1375691881" sldId="712"/>
            <ac:graphicFrameMk id="33" creationId="{08341030-2401-4002-B293-8FBBC09BB004}"/>
          </ac:graphicFrameMkLst>
        </pc:graphicFrameChg>
        <pc:graphicFrameChg chg="add del mod">
          <ac:chgData name="Yakov Pakhomov" userId="857a8f7002735771" providerId="LiveId" clId="{77711C24-CE86-4310-83AB-2BFC8187209E}" dt="2018-11-14T22:21:12.121" v="13594"/>
          <ac:graphicFrameMkLst>
            <pc:docMk/>
            <pc:sldMk cId="1375691881" sldId="712"/>
            <ac:graphicFrameMk id="34" creationId="{3F7A1F01-CB02-45F9-88CC-DF160376C721}"/>
          </ac:graphicFrameMkLst>
        </pc:graphicFrameChg>
        <pc:graphicFrameChg chg="add del mod">
          <ac:chgData name="Yakov Pakhomov" userId="857a8f7002735771" providerId="LiveId" clId="{77711C24-CE86-4310-83AB-2BFC8187209E}" dt="2018-11-14T22:21:16.512" v="13679"/>
          <ac:graphicFrameMkLst>
            <pc:docMk/>
            <pc:sldMk cId="1375691881" sldId="712"/>
            <ac:graphicFrameMk id="36" creationId="{EC50051C-B5D4-4884-AB96-1C22EE7D086D}"/>
          </ac:graphicFrameMkLst>
        </pc:graphicFrameChg>
        <pc:graphicFrameChg chg="add del mod">
          <ac:chgData name="Yakov Pakhomov" userId="857a8f7002735771" providerId="LiveId" clId="{77711C24-CE86-4310-83AB-2BFC8187209E}" dt="2018-11-14T22:21:17.415" v="13754"/>
          <ac:graphicFrameMkLst>
            <pc:docMk/>
            <pc:sldMk cId="1375691881" sldId="712"/>
            <ac:graphicFrameMk id="37" creationId="{F25B4EB2-ACA4-4CC7-9140-475BFEDC9C0A}"/>
          </ac:graphicFrameMkLst>
        </pc:graphicFrameChg>
        <pc:graphicFrameChg chg="add del mod">
          <ac:chgData name="Yakov Pakhomov" userId="857a8f7002735771" providerId="LiveId" clId="{77711C24-CE86-4310-83AB-2BFC8187209E}" dt="2018-11-14T22:21:20.807" v="13831"/>
          <ac:graphicFrameMkLst>
            <pc:docMk/>
            <pc:sldMk cId="1375691881" sldId="712"/>
            <ac:graphicFrameMk id="38" creationId="{BF5AF138-63D3-4D17-A789-ACCAA4364D05}"/>
          </ac:graphicFrameMkLst>
        </pc:graphicFrameChg>
        <pc:graphicFrameChg chg="add del mod">
          <ac:chgData name="Yakov Pakhomov" userId="857a8f7002735771" providerId="LiveId" clId="{77711C24-CE86-4310-83AB-2BFC8187209E}" dt="2018-11-14T22:21:22.328" v="13902"/>
          <ac:graphicFrameMkLst>
            <pc:docMk/>
            <pc:sldMk cId="1375691881" sldId="712"/>
            <ac:graphicFrameMk id="39" creationId="{D36E7D98-EB55-435E-99C3-C110DE58E8E6}"/>
          </ac:graphicFrameMkLst>
        </pc:graphicFrameChg>
        <pc:graphicFrameChg chg="add del mod">
          <ac:chgData name="Yakov Pakhomov" userId="857a8f7002735771" providerId="LiveId" clId="{77711C24-CE86-4310-83AB-2BFC8187209E}" dt="2018-11-14T22:21:24.512" v="13978"/>
          <ac:graphicFrameMkLst>
            <pc:docMk/>
            <pc:sldMk cId="1375691881" sldId="712"/>
            <ac:graphicFrameMk id="40" creationId="{2BDEBF81-25A1-4D81-B55F-29F3880C7D0E}"/>
          </ac:graphicFrameMkLst>
        </pc:graphicFrameChg>
        <pc:graphicFrameChg chg="add del mod">
          <ac:chgData name="Yakov Pakhomov" userId="857a8f7002735771" providerId="LiveId" clId="{77711C24-CE86-4310-83AB-2BFC8187209E}" dt="2018-11-14T22:21:25.312" v="14048"/>
          <ac:graphicFrameMkLst>
            <pc:docMk/>
            <pc:sldMk cId="1375691881" sldId="712"/>
            <ac:graphicFrameMk id="41" creationId="{E78DEA56-9091-4FD3-AAB5-E6BFE84E0CCA}"/>
          </ac:graphicFrameMkLst>
        </pc:graphicFrameChg>
        <pc:graphicFrameChg chg="add del mod">
          <ac:chgData name="Yakov Pakhomov" userId="857a8f7002735771" providerId="LiveId" clId="{77711C24-CE86-4310-83AB-2BFC8187209E}" dt="2018-11-14T22:21:28.127" v="14126"/>
          <ac:graphicFrameMkLst>
            <pc:docMk/>
            <pc:sldMk cId="1375691881" sldId="712"/>
            <ac:graphicFrameMk id="42" creationId="{72B3FB45-5DEF-4602-959F-DAA78A8DF622}"/>
          </ac:graphicFrameMkLst>
        </pc:graphicFrameChg>
        <pc:graphicFrameChg chg="add del mod">
          <ac:chgData name="Yakov Pakhomov" userId="857a8f7002735771" providerId="LiveId" clId="{77711C24-CE86-4310-83AB-2BFC8187209E}" dt="2018-11-14T22:21:31.560" v="14200"/>
          <ac:graphicFrameMkLst>
            <pc:docMk/>
            <pc:sldMk cId="1375691881" sldId="712"/>
            <ac:graphicFrameMk id="43" creationId="{92992A2E-84EA-4D94-8716-C09ABA2A97D2}"/>
          </ac:graphicFrameMkLst>
        </pc:graphicFrameChg>
        <pc:graphicFrameChg chg="add del mod">
          <ac:chgData name="Yakov Pakhomov" userId="857a8f7002735771" providerId="LiveId" clId="{77711C24-CE86-4310-83AB-2BFC8187209E}" dt="2018-11-14T22:21:32.980" v="14270"/>
          <ac:graphicFrameMkLst>
            <pc:docMk/>
            <pc:sldMk cId="1375691881" sldId="712"/>
            <ac:graphicFrameMk id="44" creationId="{B69C31E9-5745-4148-8261-8E6C1443B863}"/>
          </ac:graphicFrameMkLst>
        </pc:graphicFrameChg>
        <pc:graphicFrameChg chg="add del mod">
          <ac:chgData name="Yakov Pakhomov" userId="857a8f7002735771" providerId="LiveId" clId="{77711C24-CE86-4310-83AB-2BFC8187209E}" dt="2018-11-14T22:21:34.427" v="14341"/>
          <ac:graphicFrameMkLst>
            <pc:docMk/>
            <pc:sldMk cId="1375691881" sldId="712"/>
            <ac:graphicFrameMk id="45" creationId="{27095DE8-F3E9-4630-951B-477388A99A11}"/>
          </ac:graphicFrameMkLst>
        </pc:graphicFrameChg>
        <pc:graphicFrameChg chg="add del mod">
          <ac:chgData name="Yakov Pakhomov" userId="857a8f7002735771" providerId="LiveId" clId="{77711C24-CE86-4310-83AB-2BFC8187209E}" dt="2018-11-14T22:21:42.331" v="14411"/>
          <ac:graphicFrameMkLst>
            <pc:docMk/>
            <pc:sldMk cId="1375691881" sldId="712"/>
            <ac:graphicFrameMk id="46" creationId="{3F0CEDC8-B1E3-43F5-AAFD-21EF950C8011}"/>
          </ac:graphicFrameMkLst>
        </pc:graphicFrameChg>
        <pc:graphicFrameChg chg="add del mod">
          <ac:chgData name="Yakov Pakhomov" userId="857a8f7002735771" providerId="LiveId" clId="{77711C24-CE86-4310-83AB-2BFC8187209E}" dt="2018-11-14T22:21:43.176" v="14481"/>
          <ac:graphicFrameMkLst>
            <pc:docMk/>
            <pc:sldMk cId="1375691881" sldId="712"/>
            <ac:graphicFrameMk id="47" creationId="{63BA2291-C855-44B6-B060-4A92809B4BC4}"/>
          </ac:graphicFrameMkLst>
        </pc:graphicFrameChg>
        <pc:graphicFrameChg chg="add del mod">
          <ac:chgData name="Yakov Pakhomov" userId="857a8f7002735771" providerId="LiveId" clId="{77711C24-CE86-4310-83AB-2BFC8187209E}" dt="2018-11-14T22:21:49.107" v="14729"/>
          <ac:graphicFrameMkLst>
            <pc:docMk/>
            <pc:sldMk cId="1375691881" sldId="712"/>
            <ac:graphicFrameMk id="48" creationId="{72A66E05-185C-4559-968A-45F04BBED3BB}"/>
          </ac:graphicFrameMkLst>
        </pc:graphicFrameChg>
        <pc:graphicFrameChg chg="add del mod">
          <ac:chgData name="Yakov Pakhomov" userId="857a8f7002735771" providerId="LiveId" clId="{77711C24-CE86-4310-83AB-2BFC8187209E}" dt="2018-11-14T22:21:53.548" v="14860"/>
          <ac:graphicFrameMkLst>
            <pc:docMk/>
            <pc:sldMk cId="1375691881" sldId="712"/>
            <ac:graphicFrameMk id="49" creationId="{73106220-0A81-4029-B8B4-88CE36ED598D}"/>
          </ac:graphicFrameMkLst>
        </pc:graphicFrameChg>
        <pc:graphicFrameChg chg="add del mod">
          <ac:chgData name="Yakov Pakhomov" userId="857a8f7002735771" providerId="LiveId" clId="{77711C24-CE86-4310-83AB-2BFC8187209E}" dt="2018-11-14T22:22:07.372" v="15037"/>
          <ac:graphicFrameMkLst>
            <pc:docMk/>
            <pc:sldMk cId="1375691881" sldId="712"/>
            <ac:graphicFrameMk id="50" creationId="{90A1278C-D587-401F-BCC5-23FD9FCDF80A}"/>
          </ac:graphicFrameMkLst>
        </pc:graphicFrameChg>
        <pc:graphicFrameChg chg="add del mod">
          <ac:chgData name="Yakov Pakhomov" userId="857a8f7002735771" providerId="LiveId" clId="{77711C24-CE86-4310-83AB-2BFC8187209E}" dt="2018-11-14T22:22:25.863" v="15241"/>
          <ac:graphicFrameMkLst>
            <pc:docMk/>
            <pc:sldMk cId="1375691881" sldId="712"/>
            <ac:graphicFrameMk id="55" creationId="{187F763E-052C-447A-91E6-DB8A892DE929}"/>
          </ac:graphicFrameMkLst>
        </pc:graphicFrameChg>
        <pc:graphicFrameChg chg="add del mod">
          <ac:chgData name="Yakov Pakhomov" userId="857a8f7002735771" providerId="LiveId" clId="{77711C24-CE86-4310-83AB-2BFC8187209E}" dt="2018-11-14T22:22:30.587" v="15344"/>
          <ac:graphicFrameMkLst>
            <pc:docMk/>
            <pc:sldMk cId="1375691881" sldId="712"/>
            <ac:graphicFrameMk id="61" creationId="{449F79A1-46ED-4C8B-84CC-7B42398A79E5}"/>
          </ac:graphicFrameMkLst>
        </pc:graphicFrameChg>
        <pc:graphicFrameChg chg="add del mod">
          <ac:chgData name="Yakov Pakhomov" userId="857a8f7002735771" providerId="LiveId" clId="{77711C24-CE86-4310-83AB-2BFC8187209E}" dt="2018-11-14T22:22:33.798" v="15527"/>
          <ac:graphicFrameMkLst>
            <pc:docMk/>
            <pc:sldMk cId="1375691881" sldId="712"/>
            <ac:graphicFrameMk id="62" creationId="{360E8742-EB9A-432F-8418-84A1B9874577}"/>
          </ac:graphicFrameMkLst>
        </pc:graphicFrameChg>
        <pc:graphicFrameChg chg="add del mod">
          <ac:chgData name="Yakov Pakhomov" userId="857a8f7002735771" providerId="LiveId" clId="{77711C24-CE86-4310-83AB-2BFC8187209E}" dt="2018-11-14T22:22:37.255" v="15672"/>
          <ac:graphicFrameMkLst>
            <pc:docMk/>
            <pc:sldMk cId="1375691881" sldId="712"/>
            <ac:graphicFrameMk id="67" creationId="{13915BDB-BF2A-46A2-95EC-53C12F89836F}"/>
          </ac:graphicFrameMkLst>
        </pc:graphicFrameChg>
        <pc:graphicFrameChg chg="add del mod">
          <ac:chgData name="Yakov Pakhomov" userId="857a8f7002735771" providerId="LiveId" clId="{77711C24-CE86-4310-83AB-2BFC8187209E}" dt="2018-11-14T22:22:56.564" v="15885"/>
          <ac:graphicFrameMkLst>
            <pc:docMk/>
            <pc:sldMk cId="1375691881" sldId="712"/>
            <ac:graphicFrameMk id="68" creationId="{06DDA9A5-7246-4331-8396-49024966D340}"/>
          </ac:graphicFrameMkLst>
        </pc:graphicFrameChg>
        <pc:graphicFrameChg chg="add del mod">
          <ac:chgData name="Yakov Pakhomov" userId="857a8f7002735771" providerId="LiveId" clId="{77711C24-CE86-4310-83AB-2BFC8187209E}" dt="2018-11-14T22:22:59.965" v="16052"/>
          <ac:graphicFrameMkLst>
            <pc:docMk/>
            <pc:sldMk cId="1375691881" sldId="712"/>
            <ac:graphicFrameMk id="73" creationId="{A2BE8566-B2EF-4450-9693-1318787B0BD7}"/>
          </ac:graphicFrameMkLst>
        </pc:graphicFrameChg>
        <pc:graphicFrameChg chg="add del mod">
          <ac:chgData name="Yakov Pakhomov" userId="857a8f7002735771" providerId="LiveId" clId="{77711C24-CE86-4310-83AB-2BFC8187209E}" dt="2018-11-14T22:23:34.955" v="18504"/>
          <ac:graphicFrameMkLst>
            <pc:docMk/>
            <pc:sldMk cId="1375691881" sldId="712"/>
            <ac:graphicFrameMk id="74" creationId="{058857AB-5325-45B0-A5F5-144AA376D5DE}"/>
          </ac:graphicFrameMkLst>
        </pc:graphicFrameChg>
        <pc:graphicFrameChg chg="add mod">
          <ac:chgData name="Yakov Pakhomov" userId="857a8f7002735771" providerId="LiveId" clId="{77711C24-CE86-4310-83AB-2BFC8187209E}" dt="2018-11-14T22:23:22.206" v="18319"/>
          <ac:graphicFrameMkLst>
            <pc:docMk/>
            <pc:sldMk cId="1375691881" sldId="712"/>
            <ac:graphicFrameMk id="89" creationId="{8BA68153-C098-4ACD-B9B4-5941C5C665F9}"/>
          </ac:graphicFrameMkLst>
        </pc:graphicFrameChg>
        <pc:graphicFrameChg chg="add del mod">
          <ac:chgData name="Yakov Pakhomov" userId="857a8f7002735771" providerId="LiveId" clId="{77711C24-CE86-4310-83AB-2BFC8187209E}" dt="2018-11-14T22:25:09.486" v="18696"/>
          <ac:graphicFrameMkLst>
            <pc:docMk/>
            <pc:sldMk cId="1375691881" sldId="712"/>
            <ac:graphicFrameMk id="90" creationId="{7642CC7C-30F7-4ABC-96C5-6EB8B95E6271}"/>
          </ac:graphicFrameMkLst>
        </pc:graphicFrameChg>
        <pc:graphicFrameChg chg="add del mod">
          <ac:chgData name="Yakov Pakhomov" userId="857a8f7002735771" providerId="LiveId" clId="{77711C24-CE86-4310-83AB-2BFC8187209E}" dt="2018-11-14T22:25:10.378" v="18829"/>
          <ac:graphicFrameMkLst>
            <pc:docMk/>
            <pc:sldMk cId="1375691881" sldId="712"/>
            <ac:graphicFrameMk id="91" creationId="{9E158168-7243-48C0-82F8-6967C89E4D03}"/>
          </ac:graphicFrameMkLst>
        </pc:graphicFrameChg>
        <pc:graphicFrameChg chg="add del mod">
          <ac:chgData name="Yakov Pakhomov" userId="857a8f7002735771" providerId="LiveId" clId="{77711C24-CE86-4310-83AB-2BFC8187209E}" dt="2018-11-14T22:25:11.247" v="18945"/>
          <ac:graphicFrameMkLst>
            <pc:docMk/>
            <pc:sldMk cId="1375691881" sldId="712"/>
            <ac:graphicFrameMk id="92" creationId="{ED535C02-0961-45CC-B549-C60D913F941C}"/>
          </ac:graphicFrameMkLst>
        </pc:graphicFrameChg>
        <pc:graphicFrameChg chg="add del mod">
          <ac:chgData name="Yakov Pakhomov" userId="857a8f7002735771" providerId="LiveId" clId="{77711C24-CE86-4310-83AB-2BFC8187209E}" dt="2018-11-14T22:25:12.766" v="19065"/>
          <ac:graphicFrameMkLst>
            <pc:docMk/>
            <pc:sldMk cId="1375691881" sldId="712"/>
            <ac:graphicFrameMk id="93" creationId="{FBC1E9F8-1F54-4604-9F11-62FE814E6847}"/>
          </ac:graphicFrameMkLst>
        </pc:graphicFrameChg>
        <pc:graphicFrameChg chg="add del mod">
          <ac:chgData name="Yakov Pakhomov" userId="857a8f7002735771" providerId="LiveId" clId="{77711C24-CE86-4310-83AB-2BFC8187209E}" dt="2018-11-14T22:25:27.511" v="19176"/>
          <ac:graphicFrameMkLst>
            <pc:docMk/>
            <pc:sldMk cId="1375691881" sldId="712"/>
            <ac:graphicFrameMk id="94" creationId="{6691B247-ADE2-45E9-BA7B-A1EF24DFDF19}"/>
          </ac:graphicFrameMkLst>
        </pc:graphicFrameChg>
        <pc:graphicFrameChg chg="add del mod">
          <ac:chgData name="Yakov Pakhomov" userId="857a8f7002735771" providerId="LiveId" clId="{77711C24-CE86-4310-83AB-2BFC8187209E}" dt="2018-11-14T22:25:29.714" v="19286"/>
          <ac:graphicFrameMkLst>
            <pc:docMk/>
            <pc:sldMk cId="1375691881" sldId="712"/>
            <ac:graphicFrameMk id="95" creationId="{CADBC8EC-1CC4-4E0C-8DC0-9F09F7AC0F6F}"/>
          </ac:graphicFrameMkLst>
        </pc:graphicFrameChg>
        <pc:graphicFrameChg chg="add del mod">
          <ac:chgData name="Yakov Pakhomov" userId="857a8f7002735771" providerId="LiveId" clId="{77711C24-CE86-4310-83AB-2BFC8187209E}" dt="2018-11-16T08:44:46.953" v="28835"/>
          <ac:graphicFrameMkLst>
            <pc:docMk/>
            <pc:sldMk cId="1375691881" sldId="712"/>
            <ac:graphicFrameMk id="96" creationId="{94B5D78D-D21A-4E6F-9EB9-83F390409E51}"/>
          </ac:graphicFrameMkLst>
        </pc:graphicFrameChg>
        <pc:cxnChg chg="add mod ord">
          <ac:chgData name="Yakov Pakhomov" userId="857a8f7002735771" providerId="LiveId" clId="{77711C24-CE86-4310-83AB-2BFC8187209E}" dt="2018-11-16T08:44:47" v="28866"/>
          <ac:cxnSpMkLst>
            <pc:docMk/>
            <pc:sldMk cId="1375691881" sldId="712"/>
            <ac:cxnSpMk id="52" creationId="{8B1D3804-3A9D-4F29-B7A7-31639CE5E1A7}"/>
          </ac:cxnSpMkLst>
        </pc:cxnChg>
        <pc:cxnChg chg="add mod ord">
          <ac:chgData name="Yakov Pakhomov" userId="857a8f7002735771" providerId="LiveId" clId="{77711C24-CE86-4310-83AB-2BFC8187209E}" dt="2018-11-16T08:44:47" v="28868"/>
          <ac:cxnSpMkLst>
            <pc:docMk/>
            <pc:sldMk cId="1375691881" sldId="712"/>
            <ac:cxnSpMk id="53" creationId="{E04FD208-4450-47D9-ABFD-00A5EEC1293C}"/>
          </ac:cxnSpMkLst>
        </pc:cxnChg>
        <pc:cxnChg chg="add mod ord">
          <ac:chgData name="Yakov Pakhomov" userId="857a8f7002735771" providerId="LiveId" clId="{77711C24-CE86-4310-83AB-2BFC8187209E}" dt="2018-11-16T08:44:47.001" v="28870"/>
          <ac:cxnSpMkLst>
            <pc:docMk/>
            <pc:sldMk cId="1375691881" sldId="712"/>
            <ac:cxnSpMk id="54" creationId="{C2A93FCE-89FC-404C-8374-4D5114355810}"/>
          </ac:cxnSpMkLst>
        </pc:cxnChg>
        <pc:cxnChg chg="add del mod ord">
          <ac:chgData name="Yakov Pakhomov" userId="857a8f7002735771" providerId="LiveId" clId="{77711C24-CE86-4310-83AB-2BFC8187209E}" dt="2018-11-14T22:22:30.516" v="15318"/>
          <ac:cxnSpMkLst>
            <pc:docMk/>
            <pc:sldMk cId="1375691881" sldId="712"/>
            <ac:cxnSpMk id="57" creationId="{68D2EC7B-358E-447A-A985-609537DACB61}"/>
          </ac:cxnSpMkLst>
        </pc:cxnChg>
        <pc:cxnChg chg="add del mod ord">
          <ac:chgData name="Yakov Pakhomov" userId="857a8f7002735771" providerId="LiveId" clId="{77711C24-CE86-4310-83AB-2BFC8187209E}" dt="2018-11-14T22:22:30.515" v="15316"/>
          <ac:cxnSpMkLst>
            <pc:docMk/>
            <pc:sldMk cId="1375691881" sldId="712"/>
            <ac:cxnSpMk id="58" creationId="{64E04760-B248-43C1-8230-A7D089AF78EE}"/>
          </ac:cxnSpMkLst>
        </pc:cxnChg>
        <pc:cxnChg chg="add del mod ord">
          <ac:chgData name="Yakov Pakhomov" userId="857a8f7002735771" providerId="LiveId" clId="{77711C24-CE86-4310-83AB-2BFC8187209E}" dt="2018-11-14T22:22:30.514" v="15314"/>
          <ac:cxnSpMkLst>
            <pc:docMk/>
            <pc:sldMk cId="1375691881" sldId="712"/>
            <ac:cxnSpMk id="59" creationId="{04D82558-948B-4BAE-917F-4F32FB26219B}"/>
          </ac:cxnSpMkLst>
        </pc:cxnChg>
        <pc:cxnChg chg="add del mod ord">
          <ac:chgData name="Yakov Pakhomov" userId="857a8f7002735771" providerId="LiveId" clId="{77711C24-CE86-4310-83AB-2BFC8187209E}" dt="2018-11-14T22:22:30.512" v="15312"/>
          <ac:cxnSpMkLst>
            <pc:docMk/>
            <pc:sldMk cId="1375691881" sldId="712"/>
            <ac:cxnSpMk id="60" creationId="{5599FF64-BB96-44DC-A1D7-1C5DD66F4403}"/>
          </ac:cxnSpMkLst>
        </pc:cxnChg>
        <pc:cxnChg chg="add mod ord">
          <ac:chgData name="Yakov Pakhomov" userId="857a8f7002735771" providerId="LiveId" clId="{77711C24-CE86-4310-83AB-2BFC8187209E}" dt="2018-11-16T08:44:47.002" v="28872"/>
          <ac:cxnSpMkLst>
            <pc:docMk/>
            <pc:sldMk cId="1375691881" sldId="712"/>
            <ac:cxnSpMk id="64" creationId="{F660965D-DDEB-4379-A15C-D552B1337DEB}"/>
          </ac:cxnSpMkLst>
        </pc:cxnChg>
        <pc:cxnChg chg="add mod ord">
          <ac:chgData name="Yakov Pakhomov" userId="857a8f7002735771" providerId="LiveId" clId="{77711C24-CE86-4310-83AB-2BFC8187209E}" dt="2018-11-16T08:44:47.003" v="28874"/>
          <ac:cxnSpMkLst>
            <pc:docMk/>
            <pc:sldMk cId="1375691881" sldId="712"/>
            <ac:cxnSpMk id="65" creationId="{4EC44C9D-0612-43CC-8FA8-91F277785407}"/>
          </ac:cxnSpMkLst>
        </pc:cxnChg>
        <pc:cxnChg chg="add mod ord">
          <ac:chgData name="Yakov Pakhomov" userId="857a8f7002735771" providerId="LiveId" clId="{77711C24-CE86-4310-83AB-2BFC8187209E}" dt="2018-11-16T08:44:47.004" v="28876"/>
          <ac:cxnSpMkLst>
            <pc:docMk/>
            <pc:sldMk cId="1375691881" sldId="712"/>
            <ac:cxnSpMk id="66" creationId="{527127A3-C53B-42A8-B4F3-B884970DADE9}"/>
          </ac:cxnSpMkLst>
        </pc:cxnChg>
        <pc:cxnChg chg="add mod ord">
          <ac:chgData name="Yakov Pakhomov" userId="857a8f7002735771" providerId="LiveId" clId="{77711C24-CE86-4310-83AB-2BFC8187209E}" dt="2018-11-16T08:44:47.004" v="28878"/>
          <ac:cxnSpMkLst>
            <pc:docMk/>
            <pc:sldMk cId="1375691881" sldId="712"/>
            <ac:cxnSpMk id="70" creationId="{A89A096D-0B35-49CC-AD56-B9AD12FE5AE5}"/>
          </ac:cxnSpMkLst>
        </pc:cxnChg>
        <pc:cxnChg chg="add mod ord">
          <ac:chgData name="Yakov Pakhomov" userId="857a8f7002735771" providerId="LiveId" clId="{77711C24-CE86-4310-83AB-2BFC8187209E}" dt="2018-11-16T08:44:47.005" v="28880"/>
          <ac:cxnSpMkLst>
            <pc:docMk/>
            <pc:sldMk cId="1375691881" sldId="712"/>
            <ac:cxnSpMk id="71" creationId="{5C864BBA-F2C3-479D-A186-C539921499CE}"/>
          </ac:cxnSpMkLst>
        </pc:cxnChg>
        <pc:cxnChg chg="add mod ord">
          <ac:chgData name="Yakov Pakhomov" userId="857a8f7002735771" providerId="LiveId" clId="{77711C24-CE86-4310-83AB-2BFC8187209E}" dt="2018-11-16T08:44:47.006" v="28882"/>
          <ac:cxnSpMkLst>
            <pc:docMk/>
            <pc:sldMk cId="1375691881" sldId="712"/>
            <ac:cxnSpMk id="72" creationId="{5FF5B7D1-52E7-4806-8415-D0A72AD93765}"/>
          </ac:cxnSpMkLst>
        </pc:cxnChg>
      </pc:sldChg>
      <pc:sldChg chg="addSp delSp modSp add ord modTransition">
        <pc:chgData name="Yakov Pakhomov" userId="857a8f7002735771" providerId="LiveId" clId="{77711C24-CE86-4310-83AB-2BFC8187209E}" dt="2018-11-15T12:02:29.934" v="26197"/>
        <pc:sldMkLst>
          <pc:docMk/>
          <pc:sldMk cId="3067067272" sldId="713"/>
        </pc:sldMkLst>
        <pc:spChg chg="mod ord">
          <ac:chgData name="Yakov Pakhomov" userId="857a8f7002735771" providerId="LiveId" clId="{77711C24-CE86-4310-83AB-2BFC8187209E}" dt="2018-11-15T12:02:29.870" v="26191"/>
          <ac:spMkLst>
            <pc:docMk/>
            <pc:sldMk cId="3067067272" sldId="713"/>
            <ac:spMk id="2" creationId="{75A40949-6845-4528-AD16-EE1EAA09DA69}"/>
          </ac:spMkLst>
        </pc:spChg>
        <pc:spChg chg="del mod ord">
          <ac:chgData name="Yakov Pakhomov" userId="857a8f7002735771" providerId="LiveId" clId="{77711C24-CE86-4310-83AB-2BFC8187209E}" dt="2018-11-15T09:28:36.442" v="20818"/>
          <ac:spMkLst>
            <pc:docMk/>
            <pc:sldMk cId="3067067272" sldId="713"/>
            <ac:spMk id="3" creationId="{E0E2D3F9-3529-4D5C-ABC0-6CDD69CEBC8F}"/>
          </ac:spMkLst>
        </pc:spChg>
        <pc:spChg chg="mod ord">
          <ac:chgData name="Yakov Pakhomov" userId="857a8f7002735771" providerId="LiveId" clId="{77711C24-CE86-4310-83AB-2BFC8187209E}" dt="2018-11-15T12:02:29.870" v="26191"/>
          <ac:spMkLst>
            <pc:docMk/>
            <pc:sldMk cId="3067067272" sldId="713"/>
            <ac:spMk id="4" creationId="{C2AF77FD-BE2B-4954-A24B-13B22C5BF045}"/>
          </ac:spMkLst>
        </pc:spChg>
        <pc:spChg chg="mod ord">
          <ac:chgData name="Yakov Pakhomov" userId="857a8f7002735771" providerId="LiveId" clId="{77711C24-CE86-4310-83AB-2BFC8187209E}" dt="2018-11-15T12:02:29.870" v="26191"/>
          <ac:spMkLst>
            <pc:docMk/>
            <pc:sldMk cId="3067067272" sldId="713"/>
            <ac:spMk id="6" creationId="{1AF4FB3A-57C4-4B0A-B0C2-949FCF632E43}"/>
          </ac:spMkLst>
        </pc:spChg>
        <pc:spChg chg="add mod ord">
          <ac:chgData name="Yakov Pakhomov" userId="857a8f7002735771" providerId="LiveId" clId="{77711C24-CE86-4310-83AB-2BFC8187209E}" dt="2018-11-15T12:02:29.870" v="26191"/>
          <ac:spMkLst>
            <pc:docMk/>
            <pc:sldMk cId="3067067272" sldId="713"/>
            <ac:spMk id="7" creationId="{25C51847-C381-4D8C-90FD-CFBEEFEADF16}"/>
          </ac:spMkLst>
        </pc:spChg>
        <pc:spChg chg="add del mod ord">
          <ac:chgData name="Yakov Pakhomov" userId="857a8f7002735771" providerId="LiveId" clId="{77711C24-CE86-4310-83AB-2BFC8187209E}" dt="2018-11-15T09:21:32.228" v="20298"/>
          <ac:spMkLst>
            <pc:docMk/>
            <pc:sldMk cId="3067067272" sldId="713"/>
            <ac:spMk id="8" creationId="{4D160FA9-0663-4636-8BCB-079159DB5B5E}"/>
          </ac:spMkLst>
        </pc:spChg>
        <pc:spChg chg="add del mod ord">
          <ac:chgData name="Yakov Pakhomov" userId="857a8f7002735771" providerId="LiveId" clId="{77711C24-CE86-4310-83AB-2BFC8187209E}" dt="2018-11-15T09:21:35.413" v="20547"/>
          <ac:spMkLst>
            <pc:docMk/>
            <pc:sldMk cId="3067067272" sldId="713"/>
            <ac:spMk id="9" creationId="{57D8C75D-4FE7-47A6-A4BC-F172C869CDF9}"/>
          </ac:spMkLst>
        </pc:spChg>
        <pc:spChg chg="add mod ord">
          <ac:chgData name="Yakov Pakhomov" userId="857a8f7002735771" providerId="LiveId" clId="{77711C24-CE86-4310-83AB-2BFC8187209E}" dt="2018-11-15T12:02:29.870" v="26191"/>
          <ac:spMkLst>
            <pc:docMk/>
            <pc:sldMk cId="3067067272" sldId="713"/>
            <ac:spMk id="10" creationId="{B9993B26-6B92-414F-9A25-3D7B30DFA7BD}"/>
          </ac:spMkLst>
        </pc:spChg>
        <pc:spChg chg="add del mod ord">
          <ac:chgData name="Yakov Pakhomov" userId="857a8f7002735771" providerId="LiveId" clId="{77711C24-CE86-4310-83AB-2BFC8187209E}" dt="2018-11-15T09:28:50.823" v="21195"/>
          <ac:spMkLst>
            <pc:docMk/>
            <pc:sldMk cId="3067067272" sldId="713"/>
            <ac:spMk id="11" creationId="{29D4ECB9-2C47-4685-BBEF-053749569A62}"/>
          </ac:spMkLst>
        </pc:spChg>
        <pc:spChg chg="add del mod ord">
          <ac:chgData name="Yakov Pakhomov" userId="857a8f7002735771" providerId="LiveId" clId="{77711C24-CE86-4310-83AB-2BFC8187209E}" dt="2018-11-15T09:30:17.787" v="23335"/>
          <ac:spMkLst>
            <pc:docMk/>
            <pc:sldMk cId="3067067272" sldId="713"/>
            <ac:spMk id="12" creationId="{E241B789-5CD1-45A6-B2E4-FDF232177A51}"/>
          </ac:spMkLst>
        </pc:spChg>
        <pc:spChg chg="add del mod ord">
          <ac:chgData name="Yakov Pakhomov" userId="857a8f7002735771" providerId="LiveId" clId="{77711C24-CE86-4310-83AB-2BFC8187209E}" dt="2018-11-15T09:29:36.307" v="21932"/>
          <ac:spMkLst>
            <pc:docMk/>
            <pc:sldMk cId="3067067272" sldId="713"/>
            <ac:spMk id="13" creationId="{EB28DEAB-E3F2-4701-94E1-8139C43EF398}"/>
          </ac:spMkLst>
        </pc:spChg>
        <pc:spChg chg="add del mod ord">
          <ac:chgData name="Yakov Pakhomov" userId="857a8f7002735771" providerId="LiveId" clId="{77711C24-CE86-4310-83AB-2BFC8187209E}" dt="2018-11-15T09:29:37.169" v="22045"/>
          <ac:spMkLst>
            <pc:docMk/>
            <pc:sldMk cId="3067067272" sldId="713"/>
            <ac:spMk id="14" creationId="{5F45236C-B9D6-4292-B5AB-91B3348FEA78}"/>
          </ac:spMkLst>
        </pc:spChg>
        <pc:spChg chg="add del mod ord">
          <ac:chgData name="Yakov Pakhomov" userId="857a8f7002735771" providerId="LiveId" clId="{77711C24-CE86-4310-83AB-2BFC8187209E}" dt="2018-11-15T09:29:37.922" v="22159"/>
          <ac:spMkLst>
            <pc:docMk/>
            <pc:sldMk cId="3067067272" sldId="713"/>
            <ac:spMk id="15" creationId="{B8587322-E4B7-4E2D-8292-B8ABEDD07423}"/>
          </ac:spMkLst>
        </pc:spChg>
        <pc:spChg chg="add del mod ord">
          <ac:chgData name="Yakov Pakhomov" userId="857a8f7002735771" providerId="LiveId" clId="{77711C24-CE86-4310-83AB-2BFC8187209E}" dt="2018-11-15T09:29:39.587" v="22274"/>
          <ac:spMkLst>
            <pc:docMk/>
            <pc:sldMk cId="3067067272" sldId="713"/>
            <ac:spMk id="16" creationId="{A66FE250-AB93-49C6-9EDA-71E9B8F03B52}"/>
          </ac:spMkLst>
        </pc:spChg>
        <pc:spChg chg="add del mod ord">
          <ac:chgData name="Yakov Pakhomov" userId="857a8f7002735771" providerId="LiveId" clId="{77711C24-CE86-4310-83AB-2BFC8187209E}" dt="2018-11-15T09:29:42.204" v="22397"/>
          <ac:spMkLst>
            <pc:docMk/>
            <pc:sldMk cId="3067067272" sldId="713"/>
            <ac:spMk id="17" creationId="{809A4859-1709-418F-91C0-A2791B4E86B3}"/>
          </ac:spMkLst>
        </pc:spChg>
        <pc:spChg chg="add del mod ord">
          <ac:chgData name="Yakov Pakhomov" userId="857a8f7002735771" providerId="LiveId" clId="{77711C24-CE86-4310-83AB-2BFC8187209E}" dt="2018-11-15T09:29:43.471" v="22511"/>
          <ac:spMkLst>
            <pc:docMk/>
            <pc:sldMk cId="3067067272" sldId="713"/>
            <ac:spMk id="18" creationId="{272AB217-4D5D-4303-A11D-EAA2FFFFECB1}"/>
          </ac:spMkLst>
        </pc:spChg>
        <pc:spChg chg="add del mod ord">
          <ac:chgData name="Yakov Pakhomov" userId="857a8f7002735771" providerId="LiveId" clId="{77711C24-CE86-4310-83AB-2BFC8187209E}" dt="2018-11-15T09:29:44.346" v="22625"/>
          <ac:spMkLst>
            <pc:docMk/>
            <pc:sldMk cId="3067067272" sldId="713"/>
            <ac:spMk id="19" creationId="{45FB6D74-6CCC-4A2F-ABFF-68DFD1F90E76}"/>
          </ac:spMkLst>
        </pc:spChg>
        <pc:spChg chg="add del mod ord">
          <ac:chgData name="Yakov Pakhomov" userId="857a8f7002735771" providerId="LiveId" clId="{77711C24-CE86-4310-83AB-2BFC8187209E}" dt="2018-11-15T09:29:45.495" v="22739"/>
          <ac:spMkLst>
            <pc:docMk/>
            <pc:sldMk cId="3067067272" sldId="713"/>
            <ac:spMk id="20" creationId="{CB8D0DC8-4303-4C77-B220-B5AD81748A60}"/>
          </ac:spMkLst>
        </pc:spChg>
        <pc:spChg chg="add del mod ord">
          <ac:chgData name="Yakov Pakhomov" userId="857a8f7002735771" providerId="LiveId" clId="{77711C24-CE86-4310-83AB-2BFC8187209E}" dt="2018-11-15T09:29:47.330" v="22853"/>
          <ac:spMkLst>
            <pc:docMk/>
            <pc:sldMk cId="3067067272" sldId="713"/>
            <ac:spMk id="21" creationId="{29F7009B-8A49-410D-8F79-23BFE8442579}"/>
          </ac:spMkLst>
        </pc:spChg>
        <pc:spChg chg="add del mod ord">
          <ac:chgData name="Yakov Pakhomov" userId="857a8f7002735771" providerId="LiveId" clId="{77711C24-CE86-4310-83AB-2BFC8187209E}" dt="2018-11-15T09:29:55.939" v="22966"/>
          <ac:spMkLst>
            <pc:docMk/>
            <pc:sldMk cId="3067067272" sldId="713"/>
            <ac:spMk id="22" creationId="{9BE34409-1BC3-45C1-A470-186CB366E757}"/>
          </ac:spMkLst>
        </pc:spChg>
        <pc:spChg chg="add del mod ord">
          <ac:chgData name="Yakov Pakhomov" userId="857a8f7002735771" providerId="LiveId" clId="{77711C24-CE86-4310-83AB-2BFC8187209E}" dt="2018-11-15T12:02:29.870" v="26191"/>
          <ac:spMkLst>
            <pc:docMk/>
            <pc:sldMk cId="3067067272" sldId="713"/>
            <ac:spMk id="23" creationId="{EB662B3E-72C3-4979-9ADC-4570F394045F}"/>
          </ac:spMkLst>
        </pc:spChg>
        <pc:spChg chg="add del mod ord">
          <ac:chgData name="Yakov Pakhomov" userId="857a8f7002735771" providerId="LiveId" clId="{77711C24-CE86-4310-83AB-2BFC8187209E}" dt="2018-11-15T09:30:21.894" v="23824"/>
          <ac:spMkLst>
            <pc:docMk/>
            <pc:sldMk cId="3067067272" sldId="713"/>
            <ac:spMk id="24" creationId="{0D4A0595-5B61-493A-8AF9-7BD87BFA54C5}"/>
          </ac:spMkLst>
        </pc:spChg>
        <pc:spChg chg="add del mod ord">
          <ac:chgData name="Yakov Pakhomov" userId="857a8f7002735771" providerId="LiveId" clId="{77711C24-CE86-4310-83AB-2BFC8187209E}" dt="2018-11-15T09:30:36.123" v="24104"/>
          <ac:spMkLst>
            <pc:docMk/>
            <pc:sldMk cId="3067067272" sldId="713"/>
            <ac:spMk id="25" creationId="{16D51170-9132-45F4-BB50-00AB11A0312B}"/>
          </ac:spMkLst>
        </pc:spChg>
        <pc:spChg chg="add del mod ord">
          <ac:chgData name="Yakov Pakhomov" userId="857a8f7002735771" providerId="LiveId" clId="{77711C24-CE86-4310-83AB-2BFC8187209E}" dt="2018-11-15T09:54:46.611" v="24834"/>
          <ac:spMkLst>
            <pc:docMk/>
            <pc:sldMk cId="3067067272" sldId="713"/>
            <ac:spMk id="26" creationId="{A074416A-DB7F-4DDA-9D1B-C2CFDA61945F}"/>
          </ac:spMkLst>
        </pc:spChg>
        <pc:graphicFrameChg chg="mod ord">
          <ac:chgData name="Yakov Pakhomov" userId="857a8f7002735771" providerId="LiveId" clId="{77711C24-CE86-4310-83AB-2BFC8187209E}" dt="2018-11-15T12:02:29.934" v="26197"/>
          <ac:graphicFrameMkLst>
            <pc:docMk/>
            <pc:sldMk cId="3067067272" sldId="713"/>
            <ac:graphicFrameMk id="5" creationId="{F65593A0-7B9E-41CD-8C39-B260645020DC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4T22:27:48.090" v="19665" actId="1076"/>
        <pc:sldMkLst>
          <pc:docMk/>
          <pc:sldMk cId="1089418022" sldId="714"/>
        </pc:sldMkLst>
        <pc:spChg chg="add del">
          <ac:chgData name="Yakov Pakhomov" userId="857a8f7002735771" providerId="LiveId" clId="{77711C24-CE86-4310-83AB-2BFC8187209E}" dt="2018-11-14T22:27:08.141" v="19656"/>
          <ac:spMkLst>
            <pc:docMk/>
            <pc:sldMk cId="1089418022" sldId="714"/>
            <ac:spMk id="4" creationId="{E1AE8AD2-DD58-4AC0-8B8B-AD6E411F7267}"/>
          </ac:spMkLst>
        </pc:spChg>
        <pc:spChg chg="add mod">
          <ac:chgData name="Yakov Pakhomov" userId="857a8f7002735771" providerId="LiveId" clId="{77711C24-CE86-4310-83AB-2BFC8187209E}" dt="2018-11-14T22:27:10.520" v="19658" actId="1076"/>
          <ac:spMkLst>
            <pc:docMk/>
            <pc:sldMk cId="1089418022" sldId="714"/>
            <ac:spMk id="5" creationId="{5A238335-1DCA-4568-AADD-26B488FC4CC3}"/>
          </ac:spMkLst>
        </pc:spChg>
        <pc:spChg chg="add mod">
          <ac:chgData name="Yakov Pakhomov" userId="857a8f7002735771" providerId="LiveId" clId="{77711C24-CE86-4310-83AB-2BFC8187209E}" dt="2018-11-14T22:27:48.090" v="19665" actId="1076"/>
          <ac:spMkLst>
            <pc:docMk/>
            <pc:sldMk cId="1089418022" sldId="714"/>
            <ac:spMk id="6" creationId="{2D9240AA-CD7F-493D-9F9E-BC110F05B256}"/>
          </ac:spMkLst>
        </pc:spChg>
        <pc:picChg chg="add mod">
          <ac:chgData name="Yakov Pakhomov" userId="857a8f7002735771" providerId="LiveId" clId="{77711C24-CE86-4310-83AB-2BFC8187209E}" dt="2018-11-14T22:27:01.970" v="19654" actId="14100"/>
          <ac:picMkLst>
            <pc:docMk/>
            <pc:sldMk cId="1089418022" sldId="714"/>
            <ac:picMk id="3" creationId="{255B10DE-1CD0-47F4-9CE5-EDF2FAACA786}"/>
          </ac:picMkLst>
        </pc:picChg>
      </pc:sldChg>
      <pc:sldChg chg="addSp delSp modSp add ord">
        <pc:chgData name="Yakov Pakhomov" userId="857a8f7002735771" providerId="LiveId" clId="{77711C24-CE86-4310-83AB-2BFC8187209E}" dt="2018-11-14T22:36:35.988" v="19947"/>
        <pc:sldMkLst>
          <pc:docMk/>
          <pc:sldMk cId="929826678" sldId="715"/>
        </pc:sldMkLst>
        <pc:spChg chg="mod">
          <ac:chgData name="Yakov Pakhomov" userId="857a8f7002735771" providerId="LiveId" clId="{77711C24-CE86-4310-83AB-2BFC8187209E}" dt="2018-11-14T22:28:06.084" v="19668"/>
          <ac:spMkLst>
            <pc:docMk/>
            <pc:sldMk cId="929826678" sldId="715"/>
            <ac:spMk id="2" creationId="{720A1334-1CCA-425E-B06F-B11E84A3F904}"/>
          </ac:spMkLst>
        </pc:spChg>
        <pc:spChg chg="add">
          <ac:chgData name="Yakov Pakhomov" userId="857a8f7002735771" providerId="LiveId" clId="{77711C24-CE86-4310-83AB-2BFC8187209E}" dt="2018-11-14T22:28:00.320" v="19667"/>
          <ac:spMkLst>
            <pc:docMk/>
            <pc:sldMk cId="929826678" sldId="715"/>
            <ac:spMk id="3" creationId="{837C101E-A31A-4293-A45C-7184FE1B111B}"/>
          </ac:spMkLst>
        </pc:spChg>
        <pc:spChg chg="add del">
          <ac:chgData name="Yakov Pakhomov" userId="857a8f7002735771" providerId="LiveId" clId="{77711C24-CE86-4310-83AB-2BFC8187209E}" dt="2018-11-14T22:28:55.343" v="19688"/>
          <ac:spMkLst>
            <pc:docMk/>
            <pc:sldMk cId="929826678" sldId="715"/>
            <ac:spMk id="7" creationId="{6D59F92B-FC55-4E79-9EC1-6DD66CF86490}"/>
          </ac:spMkLst>
        </pc:spChg>
        <pc:spChg chg="add mod">
          <ac:chgData name="Yakov Pakhomov" userId="857a8f7002735771" providerId="LiveId" clId="{77711C24-CE86-4310-83AB-2BFC8187209E}" dt="2018-11-14T22:29:31.202" v="19755" actId="1076"/>
          <ac:spMkLst>
            <pc:docMk/>
            <pc:sldMk cId="929826678" sldId="715"/>
            <ac:spMk id="8" creationId="{0130E95A-EBD0-4475-900D-2E0E848EEA88}"/>
          </ac:spMkLst>
        </pc:spChg>
        <pc:spChg chg="add mod">
          <ac:chgData name="Yakov Pakhomov" userId="857a8f7002735771" providerId="LiveId" clId="{77711C24-CE86-4310-83AB-2BFC8187209E}" dt="2018-11-14T22:30:08.892" v="19774" actId="1076"/>
          <ac:spMkLst>
            <pc:docMk/>
            <pc:sldMk cId="929826678" sldId="715"/>
            <ac:spMk id="9" creationId="{238C2E1C-3C2F-4646-B4CB-341DBADFBA18}"/>
          </ac:spMkLst>
        </pc:spChg>
        <pc:graphicFrameChg chg="add mod ord">
          <ac:chgData name="Yakov Pakhomov" userId="857a8f7002735771" providerId="LiveId" clId="{77711C24-CE86-4310-83AB-2BFC8187209E}" dt="2018-11-14T22:28:06.616" v="19682"/>
          <ac:graphicFrameMkLst>
            <pc:docMk/>
            <pc:sldMk cId="929826678" sldId="715"/>
            <ac:graphicFrameMk id="4" creationId="{5B323C6A-8C1B-4F54-A4C0-01B597199DB8}"/>
          </ac:graphicFrameMkLst>
        </pc:graphicFrameChg>
        <pc:picChg chg="add mod">
          <ac:chgData name="Yakov Pakhomov" userId="857a8f7002735771" providerId="LiveId" clId="{77711C24-CE86-4310-83AB-2BFC8187209E}" dt="2018-11-14T22:28:34.879" v="19684" actId="1076"/>
          <ac:picMkLst>
            <pc:docMk/>
            <pc:sldMk cId="929826678" sldId="715"/>
            <ac:picMk id="5" creationId="{F37F7B3A-AFE1-4AD7-9D93-2F51D62D163E}"/>
          </ac:picMkLst>
        </pc:picChg>
        <pc:picChg chg="add mod">
          <ac:chgData name="Yakov Pakhomov" userId="857a8f7002735771" providerId="LiveId" clId="{77711C24-CE86-4310-83AB-2BFC8187209E}" dt="2018-11-14T22:28:49.408" v="19686" actId="1076"/>
          <ac:picMkLst>
            <pc:docMk/>
            <pc:sldMk cId="929826678" sldId="715"/>
            <ac:picMk id="6" creationId="{936E9AC1-ED77-4C80-AED7-559D35B24D97}"/>
          </ac:picMkLst>
        </pc:picChg>
      </pc:sldChg>
      <pc:sldChg chg="addSp delSp modSp add">
        <pc:chgData name="Yakov Pakhomov" userId="857a8f7002735771" providerId="LiveId" clId="{77711C24-CE86-4310-83AB-2BFC8187209E}" dt="2018-11-14T22:33:31.117" v="19899" actId="20577"/>
        <pc:sldMkLst>
          <pc:docMk/>
          <pc:sldMk cId="673432858" sldId="716"/>
        </pc:sldMkLst>
        <pc:spChg chg="del">
          <ac:chgData name="Yakov Pakhomov" userId="857a8f7002735771" providerId="LiveId" clId="{77711C24-CE86-4310-83AB-2BFC8187209E}" dt="2018-11-14T22:30:38.059" v="19776" actId="478"/>
          <ac:spMkLst>
            <pc:docMk/>
            <pc:sldMk cId="673432858" sldId="716"/>
            <ac:spMk id="8" creationId="{0130E95A-EBD0-4475-900D-2E0E848EEA88}"/>
          </ac:spMkLst>
        </pc:spChg>
        <pc:spChg chg="del">
          <ac:chgData name="Yakov Pakhomov" userId="857a8f7002735771" providerId="LiveId" clId="{77711C24-CE86-4310-83AB-2BFC8187209E}" dt="2018-11-14T22:30:38.059" v="19776" actId="478"/>
          <ac:spMkLst>
            <pc:docMk/>
            <pc:sldMk cId="673432858" sldId="716"/>
            <ac:spMk id="9" creationId="{238C2E1C-3C2F-4646-B4CB-341DBADFBA18}"/>
          </ac:spMkLst>
        </pc:spChg>
        <pc:spChg chg="add mod">
          <ac:chgData name="Yakov Pakhomov" userId="857a8f7002735771" providerId="LiveId" clId="{77711C24-CE86-4310-83AB-2BFC8187209E}" dt="2018-11-14T22:31:46.165" v="19813" actId="20577"/>
          <ac:spMkLst>
            <pc:docMk/>
            <pc:sldMk cId="673432858" sldId="716"/>
            <ac:spMk id="10" creationId="{7E031024-A977-4A60-B49E-3F1100E10AF5}"/>
          </ac:spMkLst>
        </pc:spChg>
        <pc:spChg chg="add mod">
          <ac:chgData name="Yakov Pakhomov" userId="857a8f7002735771" providerId="LiveId" clId="{77711C24-CE86-4310-83AB-2BFC8187209E}" dt="2018-11-14T22:31:50.749" v="19814" actId="20577"/>
          <ac:spMkLst>
            <pc:docMk/>
            <pc:sldMk cId="673432858" sldId="716"/>
            <ac:spMk id="11" creationId="{E2F09813-2A75-43C6-9E86-B18B7872009C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21" creationId="{29772D9E-DA6E-4A95-A3EE-23483C06A5BF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22" creationId="{C498F307-74EE-4C80-85C4-F2FBFABE99C7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23" creationId="{783844F5-5C92-4EAF-B085-F43C11F13AB1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24" creationId="{5A2C7234-0ACA-47E0-A794-58B31C989220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25" creationId="{1C1A61BD-7C52-4162-9D43-0A0993DC5958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26" creationId="{CD3D7907-39CD-4B31-B8CA-76E37B80E35F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27" creationId="{FA6AB2C8-9C40-4FEA-A456-4606D552F72B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28" creationId="{65B7A763-7386-47C0-B972-B2A9F6179E55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29" creationId="{01A863EF-5DC7-4F62-B69B-85ED682800D0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39" creationId="{C768A7F8-1809-496B-AECE-5D42ECC661B2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40" creationId="{A10C5C59-A320-466B-98D5-8DCFF4791E21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41" creationId="{7EA4EA0E-AAC4-445C-99E5-2F0EFF908215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42" creationId="{CF1DE81E-C91F-4943-8A9B-117062B758AE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43" creationId="{94058E63-A733-4D1B-9A48-ECB3519CB9C7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44" creationId="{92FA7B3E-1011-4099-B609-967154C98CF6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45" creationId="{6F19D35F-4995-41BC-9C9E-6843D4B6866E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46" creationId="{E0F378BE-86C5-4021-8A64-EE759367D112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47" creationId="{1D9BE11E-FE8C-4B89-9668-A54F98538CE9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58" creationId="{7B752627-87BC-4520-9EBF-7F85813F0358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59" creationId="{57291833-C940-4898-BA57-1AA45006C547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69" creationId="{EAFB8CBB-A106-4896-8E36-6A47804E88BD}"/>
          </ac:spMkLst>
        </pc:spChg>
        <pc:spChg chg="add mod">
          <ac:chgData name="Yakov Pakhomov" userId="857a8f7002735771" providerId="LiveId" clId="{77711C24-CE86-4310-83AB-2BFC8187209E}" dt="2018-11-14T22:32:04.576" v="19817" actId="20577"/>
          <ac:spMkLst>
            <pc:docMk/>
            <pc:sldMk cId="673432858" sldId="716"/>
            <ac:spMk id="71" creationId="{B89A3AEA-42C2-4D11-979C-767B069C1219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72" creationId="{4E61B1AF-4078-4E76-99FA-A88027F5BD08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73" creationId="{5B1008A0-9C1F-429F-ADD0-54C46FAD6E29}"/>
          </ac:spMkLst>
        </pc:spChg>
        <pc:spChg chg="add mod">
          <ac:chgData name="Yakov Pakhomov" userId="857a8f7002735771" providerId="LiveId" clId="{77711C24-CE86-4310-83AB-2BFC8187209E}" dt="2018-11-14T22:31:13.219" v="19780"/>
          <ac:spMkLst>
            <pc:docMk/>
            <pc:sldMk cId="673432858" sldId="716"/>
            <ac:spMk id="74" creationId="{003D94D7-1BB9-45CD-BE0B-11940145E48F}"/>
          </ac:spMkLst>
        </pc:spChg>
        <pc:spChg chg="add mod">
          <ac:chgData name="Yakov Pakhomov" userId="857a8f7002735771" providerId="LiveId" clId="{77711C24-CE86-4310-83AB-2BFC8187209E}" dt="2018-11-14T22:33:31.117" v="19899" actId="20577"/>
          <ac:spMkLst>
            <pc:docMk/>
            <pc:sldMk cId="673432858" sldId="716"/>
            <ac:spMk id="75" creationId="{2E3422BF-094A-4AC7-AA6E-3AF0AA29CDE2}"/>
          </ac:spMkLst>
        </pc:spChg>
        <pc:spChg chg="add">
          <ac:chgData name="Yakov Pakhomov" userId="857a8f7002735771" providerId="LiveId" clId="{77711C24-CE86-4310-83AB-2BFC8187209E}" dt="2018-11-14T22:30:58.455" v="19777"/>
          <ac:spMkLst>
            <pc:docMk/>
            <pc:sldMk cId="673432858" sldId="716"/>
            <ac:spMk id="76" creationId="{4AA9F887-3A08-441B-84CF-6FD516898010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77" creationId="{9517211A-D9A2-48B7-B238-045EE96A216A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78" creationId="{65BFB7E3-3C3D-4AD3-8A21-B71C74355A09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88" creationId="{6D4B96FC-E6C6-44EA-BB09-33A1401BFFDD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89" creationId="{C52463D3-E704-480E-A5DD-31210F55ADD3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90" creationId="{B6C9D1D5-DC59-4A0F-9F13-C6D4C3E45442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91" creationId="{B9763538-453B-4924-BE07-E5F75D37ADFD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92" creationId="{F731F883-9A3F-4C08-85EF-7C155CE420F3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93" creationId="{8AF26349-A27C-405E-8E58-CBCF6B16A9F8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94" creationId="{C9D536F4-DE99-4D04-9157-BE2B8FD227CE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95" creationId="{2120B53C-DD91-4CDE-A73B-BDB19811BA3B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96" creationId="{4F12A5E8-7C34-46D9-8C49-3DA70FED3E81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06" creationId="{0FC2D9C2-8877-4C99-A8EC-8421DA2860DC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07" creationId="{66C3DAA2-8F92-44E1-BEED-1CA8419C9232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08" creationId="{610D05AC-3845-410C-9213-CD6FF0273254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09" creationId="{3EE47487-5259-4F00-8040-474576BAF356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10" creationId="{32DC5199-F252-4042-8ED1-612B4BC52E19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11" creationId="{4ACA6B15-7E51-46C0-8F30-B3689DFB3585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12" creationId="{61522A75-0869-4D49-8B49-1721BDF480A8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13" creationId="{71FFD16D-82F8-4742-ABC4-AF3FA70574FE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14" creationId="{031FAB72-0C5C-497E-83EB-976ED7750ADE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25" creationId="{95CA4E84-8091-416C-9741-17527903D505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26" creationId="{95C2D7CC-05F6-4D3A-906E-2F470493C660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36" creationId="{21850925-74C5-4215-807A-659A72311142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38" creationId="{8ED1E6D1-31AC-4A1D-8EDC-EAA524115EA3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39" creationId="{1CA12D59-400B-4B64-9292-8ECA70FB0463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40" creationId="{08325A53-8386-415E-8A70-06453A220565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41" creationId="{A1144103-7419-4599-9297-CC1A166E4B34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42" creationId="{53148C78-340C-4F83-95EA-0667B9B53480}"/>
          </ac:spMkLst>
        </pc:spChg>
        <pc:spChg chg="add del">
          <ac:chgData name="Yakov Pakhomov" userId="857a8f7002735771" providerId="LiveId" clId="{77711C24-CE86-4310-83AB-2BFC8187209E}" dt="2018-11-14T22:31:06.256" v="19779"/>
          <ac:spMkLst>
            <pc:docMk/>
            <pc:sldMk cId="673432858" sldId="716"/>
            <ac:spMk id="143" creationId="{3E601BC9-0F75-48E3-8616-18A2108DD71A}"/>
          </ac:spMkLst>
        </pc:spChg>
        <pc:grpChg chg="add">
          <ac:chgData name="Yakov Pakhomov" userId="857a8f7002735771" providerId="LiveId" clId="{77711C24-CE86-4310-83AB-2BFC8187209E}" dt="2018-11-14T22:30:58.455" v="19777"/>
          <ac:grpSpMkLst>
            <pc:docMk/>
            <pc:sldMk cId="673432858" sldId="716"/>
            <ac:grpSpMk id="12" creationId="{6A5E2BD9-8CF5-409C-9C67-48C2B8BD614B}"/>
          </ac:grpSpMkLst>
        </pc:grpChg>
        <pc:grpChg chg="add">
          <ac:chgData name="Yakov Pakhomov" userId="857a8f7002735771" providerId="LiveId" clId="{77711C24-CE86-4310-83AB-2BFC8187209E}" dt="2018-11-14T22:30:58.455" v="19777"/>
          <ac:grpSpMkLst>
            <pc:docMk/>
            <pc:sldMk cId="673432858" sldId="716"/>
            <ac:grpSpMk id="30" creationId="{252EDB6A-5363-4DEF-A266-A81A5FB36499}"/>
          </ac:grpSpMkLst>
        </pc:grpChg>
        <pc:grpChg chg="add">
          <ac:chgData name="Yakov Pakhomov" userId="857a8f7002735771" providerId="LiveId" clId="{77711C24-CE86-4310-83AB-2BFC8187209E}" dt="2018-11-14T22:30:58.455" v="19777"/>
          <ac:grpSpMkLst>
            <pc:docMk/>
            <pc:sldMk cId="673432858" sldId="716"/>
            <ac:grpSpMk id="49" creationId="{511808A8-76B1-4F85-93C4-0524CC413C89}"/>
          </ac:grpSpMkLst>
        </pc:grpChg>
        <pc:grpChg chg="add">
          <ac:chgData name="Yakov Pakhomov" userId="857a8f7002735771" providerId="LiveId" clId="{77711C24-CE86-4310-83AB-2BFC8187209E}" dt="2018-11-14T22:30:58.455" v="19777"/>
          <ac:grpSpMkLst>
            <pc:docMk/>
            <pc:sldMk cId="673432858" sldId="716"/>
            <ac:grpSpMk id="61" creationId="{974300C8-AB1F-4EEE-AB2E-A390928A49BD}"/>
          </ac:grpSpMkLst>
        </pc:grpChg>
        <pc:grpChg chg="add del mod">
          <ac:chgData name="Yakov Pakhomov" userId="857a8f7002735771" providerId="LiveId" clId="{77711C24-CE86-4310-83AB-2BFC8187209E}" dt="2018-11-14T22:31:06.256" v="19779"/>
          <ac:grpSpMkLst>
            <pc:docMk/>
            <pc:sldMk cId="673432858" sldId="716"/>
            <ac:grpSpMk id="79" creationId="{A250BE1D-E61A-4F51-859E-130BE3FAED02}"/>
          </ac:grpSpMkLst>
        </pc:grpChg>
        <pc:grpChg chg="add del mod">
          <ac:chgData name="Yakov Pakhomov" userId="857a8f7002735771" providerId="LiveId" clId="{77711C24-CE86-4310-83AB-2BFC8187209E}" dt="2018-11-14T22:31:06.256" v="19779"/>
          <ac:grpSpMkLst>
            <pc:docMk/>
            <pc:sldMk cId="673432858" sldId="716"/>
            <ac:grpSpMk id="97" creationId="{6A1553E1-4A8D-406E-B697-0D30D9D76071}"/>
          </ac:grpSpMkLst>
        </pc:grpChg>
        <pc:grpChg chg="add del mod">
          <ac:chgData name="Yakov Pakhomov" userId="857a8f7002735771" providerId="LiveId" clId="{77711C24-CE86-4310-83AB-2BFC8187209E}" dt="2018-11-14T22:31:06.256" v="19779"/>
          <ac:grpSpMkLst>
            <pc:docMk/>
            <pc:sldMk cId="673432858" sldId="716"/>
            <ac:grpSpMk id="116" creationId="{B1DB95FD-576C-4520-B363-ED2C7F2F83D5}"/>
          </ac:grpSpMkLst>
        </pc:grpChg>
        <pc:grpChg chg="add del mod">
          <ac:chgData name="Yakov Pakhomov" userId="857a8f7002735771" providerId="LiveId" clId="{77711C24-CE86-4310-83AB-2BFC8187209E}" dt="2018-11-14T22:31:06.256" v="19779"/>
          <ac:grpSpMkLst>
            <pc:docMk/>
            <pc:sldMk cId="673432858" sldId="716"/>
            <ac:grpSpMk id="128" creationId="{AE68D3F9-3DE0-413D-900B-6E85085B5CA2}"/>
          </ac:grpSpMkLst>
        </pc:grpChg>
        <pc:picChg chg="del">
          <ac:chgData name="Yakov Pakhomov" userId="857a8f7002735771" providerId="LiveId" clId="{77711C24-CE86-4310-83AB-2BFC8187209E}" dt="2018-11-14T22:30:38.059" v="19776" actId="478"/>
          <ac:picMkLst>
            <pc:docMk/>
            <pc:sldMk cId="673432858" sldId="716"/>
            <ac:picMk id="5" creationId="{F37F7B3A-AFE1-4AD7-9D93-2F51D62D163E}"/>
          </ac:picMkLst>
        </pc:picChg>
        <pc:picChg chg="del">
          <ac:chgData name="Yakov Pakhomov" userId="857a8f7002735771" providerId="LiveId" clId="{77711C24-CE86-4310-83AB-2BFC8187209E}" dt="2018-11-14T22:30:38.059" v="19776" actId="478"/>
          <ac:picMkLst>
            <pc:docMk/>
            <pc:sldMk cId="673432858" sldId="716"/>
            <ac:picMk id="6" creationId="{936E9AC1-ED77-4C80-AED7-559D35B24D97}"/>
          </ac:picMkLst>
        </pc:picChg>
        <pc:picChg chg="add">
          <ac:chgData name="Yakov Pakhomov" userId="857a8f7002735771" providerId="LiveId" clId="{77711C24-CE86-4310-83AB-2BFC8187209E}" dt="2018-11-14T22:30:58.455" v="19777"/>
          <ac:picMkLst>
            <pc:docMk/>
            <pc:sldMk cId="673432858" sldId="716"/>
            <ac:picMk id="48" creationId="{0A58C219-49AD-4B3B-A83B-1E91936660B2}"/>
          </ac:picMkLst>
        </pc:picChg>
        <pc:picChg chg="add">
          <ac:chgData name="Yakov Pakhomov" userId="857a8f7002735771" providerId="LiveId" clId="{77711C24-CE86-4310-83AB-2BFC8187209E}" dt="2018-11-14T22:30:58.455" v="19777"/>
          <ac:picMkLst>
            <pc:docMk/>
            <pc:sldMk cId="673432858" sldId="716"/>
            <ac:picMk id="60" creationId="{12A1EAA2-7F97-421C-93E0-C8A0B68E31C0}"/>
          </ac:picMkLst>
        </pc:picChg>
        <pc:picChg chg="add">
          <ac:chgData name="Yakov Pakhomov" userId="857a8f7002735771" providerId="LiveId" clId="{77711C24-CE86-4310-83AB-2BFC8187209E}" dt="2018-11-14T22:30:58.455" v="19777"/>
          <ac:picMkLst>
            <pc:docMk/>
            <pc:sldMk cId="673432858" sldId="716"/>
            <ac:picMk id="64" creationId="{95669944-CEE6-453C-BD1E-839B7F4935E3}"/>
          </ac:picMkLst>
        </pc:picChg>
        <pc:picChg chg="add">
          <ac:chgData name="Yakov Pakhomov" userId="857a8f7002735771" providerId="LiveId" clId="{77711C24-CE86-4310-83AB-2BFC8187209E}" dt="2018-11-14T22:30:58.455" v="19777"/>
          <ac:picMkLst>
            <pc:docMk/>
            <pc:sldMk cId="673432858" sldId="716"/>
            <ac:picMk id="67" creationId="{7538781D-2489-4371-B64D-7DB2CF232470}"/>
          </ac:picMkLst>
        </pc:picChg>
        <pc:picChg chg="add">
          <ac:chgData name="Yakov Pakhomov" userId="857a8f7002735771" providerId="LiveId" clId="{77711C24-CE86-4310-83AB-2BFC8187209E}" dt="2018-11-14T22:30:58.455" v="19777"/>
          <ac:picMkLst>
            <pc:docMk/>
            <pc:sldMk cId="673432858" sldId="716"/>
            <ac:picMk id="68" creationId="{FAB07695-91DE-42D9-ACCC-1E8B8C7BEAA2}"/>
          </ac:picMkLst>
        </pc:picChg>
        <pc:picChg chg="add del">
          <ac:chgData name="Yakov Pakhomov" userId="857a8f7002735771" providerId="LiveId" clId="{77711C24-CE86-4310-83AB-2BFC8187209E}" dt="2018-11-14T22:31:06.256" v="19779"/>
          <ac:picMkLst>
            <pc:docMk/>
            <pc:sldMk cId="673432858" sldId="716"/>
            <ac:picMk id="115" creationId="{FCF25A58-6B14-4A1B-8A37-0C8EA65E9DD2}"/>
          </ac:picMkLst>
        </pc:picChg>
        <pc:picChg chg="add del">
          <ac:chgData name="Yakov Pakhomov" userId="857a8f7002735771" providerId="LiveId" clId="{77711C24-CE86-4310-83AB-2BFC8187209E}" dt="2018-11-14T22:31:06.256" v="19779"/>
          <ac:picMkLst>
            <pc:docMk/>
            <pc:sldMk cId="673432858" sldId="716"/>
            <ac:picMk id="127" creationId="{F6C4557A-3A62-4FF3-AAB7-09CD09634D04}"/>
          </ac:picMkLst>
        </pc:picChg>
        <pc:picChg chg="add del">
          <ac:chgData name="Yakov Pakhomov" userId="857a8f7002735771" providerId="LiveId" clId="{77711C24-CE86-4310-83AB-2BFC8187209E}" dt="2018-11-14T22:31:06.256" v="19779"/>
          <ac:picMkLst>
            <pc:docMk/>
            <pc:sldMk cId="673432858" sldId="716"/>
            <ac:picMk id="131" creationId="{9C917F6A-CCC0-47E1-AE8B-873BEFA0C3A1}"/>
          </ac:picMkLst>
        </pc:picChg>
        <pc:picChg chg="add del">
          <ac:chgData name="Yakov Pakhomov" userId="857a8f7002735771" providerId="LiveId" clId="{77711C24-CE86-4310-83AB-2BFC8187209E}" dt="2018-11-14T22:31:06.256" v="19779"/>
          <ac:picMkLst>
            <pc:docMk/>
            <pc:sldMk cId="673432858" sldId="716"/>
            <ac:picMk id="134" creationId="{F145D450-F877-494C-B369-8C0C93871E15}"/>
          </ac:picMkLst>
        </pc:picChg>
        <pc:picChg chg="add del">
          <ac:chgData name="Yakov Pakhomov" userId="857a8f7002735771" providerId="LiveId" clId="{77711C24-CE86-4310-83AB-2BFC8187209E}" dt="2018-11-14T22:31:06.256" v="19779"/>
          <ac:picMkLst>
            <pc:docMk/>
            <pc:sldMk cId="673432858" sldId="716"/>
            <ac:picMk id="135" creationId="{0EB731E6-A5F9-4FEB-877E-0A8B22CCBDD5}"/>
          </ac:picMkLst>
        </pc:picChg>
        <pc:cxnChg chg="add">
          <ac:chgData name="Yakov Pakhomov" userId="857a8f7002735771" providerId="LiveId" clId="{77711C24-CE86-4310-83AB-2BFC8187209E}" dt="2018-11-14T22:30:58.455" v="19777"/>
          <ac:cxnSpMkLst>
            <pc:docMk/>
            <pc:sldMk cId="673432858" sldId="716"/>
            <ac:cxnSpMk id="65" creationId="{11BBCA1A-7C39-4AF1-A0B6-A1D2ACDC402B}"/>
          </ac:cxnSpMkLst>
        </pc:cxnChg>
        <pc:cxnChg chg="add">
          <ac:chgData name="Yakov Pakhomov" userId="857a8f7002735771" providerId="LiveId" clId="{77711C24-CE86-4310-83AB-2BFC8187209E}" dt="2018-11-14T22:30:58.455" v="19777"/>
          <ac:cxnSpMkLst>
            <pc:docMk/>
            <pc:sldMk cId="673432858" sldId="716"/>
            <ac:cxnSpMk id="66" creationId="{D153EF78-C3A7-4F5E-9D7C-24E539DB17DE}"/>
          </ac:cxnSpMkLst>
        </pc:cxnChg>
        <pc:cxnChg chg="add">
          <ac:chgData name="Yakov Pakhomov" userId="857a8f7002735771" providerId="LiveId" clId="{77711C24-CE86-4310-83AB-2BFC8187209E}" dt="2018-11-14T22:30:58.455" v="19777"/>
          <ac:cxnSpMkLst>
            <pc:docMk/>
            <pc:sldMk cId="673432858" sldId="716"/>
            <ac:cxnSpMk id="70" creationId="{712A3FC0-0FE9-437D-B6C7-4F6F0C66AE90}"/>
          </ac:cxnSpMkLst>
        </pc:cxnChg>
        <pc:cxnChg chg="add del">
          <ac:chgData name="Yakov Pakhomov" userId="857a8f7002735771" providerId="LiveId" clId="{77711C24-CE86-4310-83AB-2BFC8187209E}" dt="2018-11-14T22:31:06.256" v="19779"/>
          <ac:cxnSpMkLst>
            <pc:docMk/>
            <pc:sldMk cId="673432858" sldId="716"/>
            <ac:cxnSpMk id="132" creationId="{D17985D0-D119-448F-B937-56670F85C0BF}"/>
          </ac:cxnSpMkLst>
        </pc:cxnChg>
        <pc:cxnChg chg="add del">
          <ac:chgData name="Yakov Pakhomov" userId="857a8f7002735771" providerId="LiveId" clId="{77711C24-CE86-4310-83AB-2BFC8187209E}" dt="2018-11-14T22:31:06.256" v="19779"/>
          <ac:cxnSpMkLst>
            <pc:docMk/>
            <pc:sldMk cId="673432858" sldId="716"/>
            <ac:cxnSpMk id="133" creationId="{8FF7D70A-32DF-4132-BE2D-06167FF66B19}"/>
          </ac:cxnSpMkLst>
        </pc:cxnChg>
        <pc:cxnChg chg="add del">
          <ac:chgData name="Yakov Pakhomov" userId="857a8f7002735771" providerId="LiveId" clId="{77711C24-CE86-4310-83AB-2BFC8187209E}" dt="2018-11-14T22:31:06.256" v="19779"/>
          <ac:cxnSpMkLst>
            <pc:docMk/>
            <pc:sldMk cId="673432858" sldId="716"/>
            <ac:cxnSpMk id="137" creationId="{9F7F10BB-8268-4095-A6D1-9A8D623BA2C2}"/>
          </ac:cxnSpMkLst>
        </pc:cxnChg>
      </pc:sldChg>
      <pc:sldChg chg="modSp add">
        <pc:chgData name="Yakov Pakhomov" userId="857a8f7002735771" providerId="LiveId" clId="{77711C24-CE86-4310-83AB-2BFC8187209E}" dt="2018-11-14T22:35:26.478" v="19944" actId="20577"/>
        <pc:sldMkLst>
          <pc:docMk/>
          <pc:sldMk cId="1383334341" sldId="717"/>
        </pc:sldMkLst>
        <pc:spChg chg="mod">
          <ac:chgData name="Yakov Pakhomov" userId="857a8f7002735771" providerId="LiveId" clId="{77711C24-CE86-4310-83AB-2BFC8187209E}" dt="2018-11-14T22:35:26.478" v="19944" actId="20577"/>
          <ac:spMkLst>
            <pc:docMk/>
            <pc:sldMk cId="1383334341" sldId="717"/>
            <ac:spMk id="10" creationId="{7E031024-A977-4A60-B49E-3F1100E10AF5}"/>
          </ac:spMkLst>
        </pc:spChg>
      </pc:sldChg>
      <pc:sldChg chg="addSp delSp modSp add">
        <pc:chgData name="Yakov Pakhomov" userId="857a8f7002735771" providerId="LiveId" clId="{77711C24-CE86-4310-83AB-2BFC8187209E}" dt="2018-11-15T13:55:44.832" v="27137" actId="27636"/>
        <pc:sldMkLst>
          <pc:docMk/>
          <pc:sldMk cId="1083170532" sldId="718"/>
        </pc:sldMkLst>
        <pc:spChg chg="del">
          <ac:chgData name="Yakov Pakhomov" userId="857a8f7002735771" providerId="LiveId" clId="{77711C24-CE86-4310-83AB-2BFC8187209E}" dt="2018-11-15T08:16:52.359" v="19949" actId="478"/>
          <ac:spMkLst>
            <pc:docMk/>
            <pc:sldMk cId="1083170532" sldId="718"/>
            <ac:spMk id="2" creationId="{15BD1B3C-3736-4AD4-8DE3-B1FCD2A2DA8F}"/>
          </ac:spMkLst>
        </pc:spChg>
        <pc:spChg chg="del">
          <ac:chgData name="Yakov Pakhomov" userId="857a8f7002735771" providerId="LiveId" clId="{77711C24-CE86-4310-83AB-2BFC8187209E}" dt="2018-11-15T08:16:59.705" v="19951"/>
          <ac:spMkLst>
            <pc:docMk/>
            <pc:sldMk cId="1083170532" sldId="718"/>
            <ac:spMk id="3" creationId="{B6673E51-3CBF-4AAF-B366-2FB71EF102C0}"/>
          </ac:spMkLst>
        </pc:spChg>
        <pc:spChg chg="del">
          <ac:chgData name="Yakov Pakhomov" userId="857a8f7002735771" providerId="LiveId" clId="{77711C24-CE86-4310-83AB-2BFC8187209E}" dt="2018-11-15T08:16:59.705" v="19951"/>
          <ac:spMkLst>
            <pc:docMk/>
            <pc:sldMk cId="1083170532" sldId="718"/>
            <ac:spMk id="4" creationId="{9E074E43-2486-4C3B-A1DD-2D2478DEE381}"/>
          </ac:spMkLst>
        </pc:spChg>
        <pc:spChg chg="add del mod">
          <ac:chgData name="Yakov Pakhomov" userId="857a8f7002735771" providerId="LiveId" clId="{77711C24-CE86-4310-83AB-2BFC8187209E}" dt="2018-11-15T08:17:09.679" v="19967" actId="478"/>
          <ac:spMkLst>
            <pc:docMk/>
            <pc:sldMk cId="1083170532" sldId="718"/>
            <ac:spMk id="6" creationId="{4643EE8A-F062-4306-8A1B-ACCA30596791}"/>
          </ac:spMkLst>
        </pc:spChg>
        <pc:spChg chg="add mod">
          <ac:chgData name="Yakov Pakhomov" userId="857a8f7002735771" providerId="LiveId" clId="{77711C24-CE86-4310-83AB-2BFC8187209E}" dt="2018-11-15T13:55:44.832" v="27137" actId="27636"/>
          <ac:spMkLst>
            <pc:docMk/>
            <pc:sldMk cId="1083170532" sldId="718"/>
            <ac:spMk id="7" creationId="{8951B57E-E2F7-4D1E-9B74-39341F868A5B}"/>
          </ac:spMkLst>
        </pc:spChg>
        <pc:spChg chg="add mod">
          <ac:chgData name="Yakov Pakhomov" userId="857a8f7002735771" providerId="LiveId" clId="{77711C24-CE86-4310-83AB-2BFC8187209E}" dt="2018-11-15T08:17:32.922" v="19971" actId="27636"/>
          <ac:spMkLst>
            <pc:docMk/>
            <pc:sldMk cId="1083170532" sldId="718"/>
            <ac:spMk id="8" creationId="{AABE4508-A50D-4C4F-818A-9312F60A1980}"/>
          </ac:spMkLst>
        </pc:spChg>
        <pc:spChg chg="add mod">
          <ac:chgData name="Yakov Pakhomov" userId="857a8f7002735771" providerId="LiveId" clId="{77711C24-CE86-4310-83AB-2BFC8187209E}" dt="2018-11-15T08:34:57.549" v="19994" actId="767"/>
          <ac:spMkLst>
            <pc:docMk/>
            <pc:sldMk cId="1083170532" sldId="718"/>
            <ac:spMk id="11" creationId="{5554D640-FDF4-4305-9BEB-4BA19EBD0685}"/>
          </ac:spMkLst>
        </pc:spChg>
        <pc:graphicFrameChg chg="add mod ord">
          <ac:chgData name="Yakov Pakhomov" userId="857a8f7002735771" providerId="LiveId" clId="{77711C24-CE86-4310-83AB-2BFC8187209E}" dt="2018-11-15T08:17:00.228" v="19965"/>
          <ac:graphicFrameMkLst>
            <pc:docMk/>
            <pc:sldMk cId="1083170532" sldId="718"/>
            <ac:graphicFrameMk id="9" creationId="{6809EF73-DE4F-4E21-84E3-189C5DAC3763}"/>
          </ac:graphicFrameMkLst>
        </pc:graphicFrameChg>
        <pc:picChg chg="add del mod">
          <ac:chgData name="Yakov Pakhomov" userId="857a8f7002735771" providerId="LiveId" clId="{77711C24-CE86-4310-83AB-2BFC8187209E}" dt="2018-11-15T08:20:22.826" v="19984" actId="478"/>
          <ac:picMkLst>
            <pc:docMk/>
            <pc:sldMk cId="1083170532" sldId="718"/>
            <ac:picMk id="5" creationId="{27FE8DBF-814A-42BD-B746-B1F4940CF43D}"/>
          </ac:picMkLst>
        </pc:picChg>
        <pc:picChg chg="add del mod">
          <ac:chgData name="Yakov Pakhomov" userId="857a8f7002735771" providerId="LiveId" clId="{77711C24-CE86-4310-83AB-2BFC8187209E}" dt="2018-11-15T09:14:33.329" v="19995" actId="478"/>
          <ac:picMkLst>
            <pc:docMk/>
            <pc:sldMk cId="1083170532" sldId="718"/>
            <ac:picMk id="10" creationId="{FA02B54E-5C01-486F-930F-D78E2EAB8767}"/>
          </ac:picMkLst>
        </pc:picChg>
        <pc:picChg chg="add mod">
          <ac:chgData name="Yakov Pakhomov" userId="857a8f7002735771" providerId="LiveId" clId="{77711C24-CE86-4310-83AB-2BFC8187209E}" dt="2018-11-15T09:14:44.975" v="19997" actId="1076"/>
          <ac:picMkLst>
            <pc:docMk/>
            <pc:sldMk cId="1083170532" sldId="718"/>
            <ac:picMk id="12" creationId="{87423E37-1F6A-4851-BFD1-E9109926EE3F}"/>
          </ac:picMkLst>
        </pc:picChg>
      </pc:sldChg>
      <pc:sldChg chg="addSp delSp modSp add ord">
        <pc:chgData name="Yakov Pakhomov" userId="857a8f7002735771" providerId="LiveId" clId="{77711C24-CE86-4310-83AB-2BFC8187209E}" dt="2018-11-15T14:24:00.287" v="27212"/>
        <pc:sldMkLst>
          <pc:docMk/>
          <pc:sldMk cId="2916992599" sldId="719"/>
        </pc:sldMkLst>
        <pc:spChg chg="mod">
          <ac:chgData name="Yakov Pakhomov" userId="857a8f7002735771" providerId="LiveId" clId="{77711C24-CE86-4310-83AB-2BFC8187209E}" dt="2018-11-15T13:55:44.916" v="27138" actId="27636"/>
          <ac:spMkLst>
            <pc:docMk/>
            <pc:sldMk cId="2916992599" sldId="719"/>
            <ac:spMk id="7" creationId="{8951B57E-E2F7-4D1E-9B74-39341F868A5B}"/>
          </ac:spMkLst>
        </pc:spChg>
        <pc:picChg chg="add del mod">
          <ac:chgData name="Yakov Pakhomov" userId="857a8f7002735771" providerId="LiveId" clId="{77711C24-CE86-4310-83AB-2BFC8187209E}" dt="2018-11-15T09:15:06.709" v="19998" actId="478"/>
          <ac:picMkLst>
            <pc:docMk/>
            <pc:sldMk cId="2916992599" sldId="719"/>
            <ac:picMk id="2" creationId="{F3E06B37-1F05-4303-8993-96596D6B368D}"/>
          </ac:picMkLst>
        </pc:picChg>
        <pc:picChg chg="add del mod">
          <ac:chgData name="Yakov Pakhomov" userId="857a8f7002735771" providerId="LiveId" clId="{77711C24-CE86-4310-83AB-2BFC8187209E}" dt="2018-11-15T09:18:53.760" v="20001" actId="478"/>
          <ac:picMkLst>
            <pc:docMk/>
            <pc:sldMk cId="2916992599" sldId="719"/>
            <ac:picMk id="3" creationId="{B314C152-D0A9-4A37-AE31-7777C19F1328}"/>
          </ac:picMkLst>
        </pc:picChg>
        <pc:picChg chg="add">
          <ac:chgData name="Yakov Pakhomov" userId="857a8f7002735771" providerId="LiveId" clId="{77711C24-CE86-4310-83AB-2BFC8187209E}" dt="2018-11-15T09:18:54.190" v="20002"/>
          <ac:picMkLst>
            <pc:docMk/>
            <pc:sldMk cId="2916992599" sldId="719"/>
            <ac:picMk id="4" creationId="{7DC56E36-8EAC-406D-AC86-406AF60B682C}"/>
          </ac:picMkLst>
        </pc:picChg>
        <pc:picChg chg="del">
          <ac:chgData name="Yakov Pakhomov" userId="857a8f7002735771" providerId="LiveId" clId="{77711C24-CE86-4310-83AB-2BFC8187209E}" dt="2018-11-15T08:21:17.194" v="19992" actId="478"/>
          <ac:picMkLst>
            <pc:docMk/>
            <pc:sldMk cId="2916992599" sldId="719"/>
            <ac:picMk id="10" creationId="{FA02B54E-5C01-486F-930F-D78E2EAB8767}"/>
          </ac:picMkLst>
        </pc:picChg>
      </pc:sldChg>
      <pc:sldChg chg="addSp delSp modSp add ord">
        <pc:chgData name="Yakov Pakhomov" userId="857a8f7002735771" providerId="LiveId" clId="{77711C24-CE86-4310-83AB-2BFC8187209E}" dt="2018-11-15T14:24:03.330" v="27213"/>
        <pc:sldMkLst>
          <pc:docMk/>
          <pc:sldMk cId="4191336084" sldId="720"/>
        </pc:sldMkLst>
        <pc:spChg chg="mod">
          <ac:chgData name="Yakov Pakhomov" userId="857a8f7002735771" providerId="LiveId" clId="{77711C24-CE86-4310-83AB-2BFC8187209E}" dt="2018-11-15T13:55:45.726" v="27139" actId="27636"/>
          <ac:spMkLst>
            <pc:docMk/>
            <pc:sldMk cId="4191336084" sldId="720"/>
            <ac:spMk id="7" creationId="{8951B57E-E2F7-4D1E-9B74-39341F868A5B}"/>
          </ac:spMkLst>
        </pc:spChg>
        <pc:picChg chg="add del mod">
          <ac:chgData name="Yakov Pakhomov" userId="857a8f7002735771" providerId="LiveId" clId="{77711C24-CE86-4310-83AB-2BFC8187209E}" dt="2018-11-15T09:20:42.444" v="20007" actId="478"/>
          <ac:picMkLst>
            <pc:docMk/>
            <pc:sldMk cId="4191336084" sldId="720"/>
            <ac:picMk id="2" creationId="{A2D2BA00-E696-4365-B218-103ECC883735}"/>
          </ac:picMkLst>
        </pc:picChg>
        <pc:picChg chg="add">
          <ac:chgData name="Yakov Pakhomov" userId="857a8f7002735771" providerId="LiveId" clId="{77711C24-CE86-4310-83AB-2BFC8187209E}" dt="2018-11-15T09:20:42.879" v="20008"/>
          <ac:picMkLst>
            <pc:docMk/>
            <pc:sldMk cId="4191336084" sldId="720"/>
            <ac:picMk id="3" creationId="{045FFC81-0AFB-436B-B7C2-BC7BE209D20E}"/>
          </ac:picMkLst>
        </pc:picChg>
        <pc:picChg chg="del">
          <ac:chgData name="Yakov Pakhomov" userId="857a8f7002735771" providerId="LiveId" clId="{77711C24-CE86-4310-83AB-2BFC8187209E}" dt="2018-11-15T09:19:38.942" v="20004" actId="478"/>
          <ac:picMkLst>
            <pc:docMk/>
            <pc:sldMk cId="4191336084" sldId="720"/>
            <ac:picMk id="4" creationId="{7DC56E36-8EAC-406D-AC86-406AF60B682C}"/>
          </ac:picMkLst>
        </pc:picChg>
      </pc:sldChg>
      <pc:sldChg chg="addSp delSp modSp add ord modTransition">
        <pc:chgData name="Yakov Pakhomov" userId="857a8f7002735771" providerId="LiveId" clId="{77711C24-CE86-4310-83AB-2BFC8187209E}" dt="2018-11-15T12:02:29.959" v="26199"/>
        <pc:sldMkLst>
          <pc:docMk/>
          <pc:sldMk cId="1561739842" sldId="721"/>
        </pc:sldMkLst>
        <pc:spChg chg="mod ord">
          <ac:chgData name="Yakov Pakhomov" userId="857a8f7002735771" providerId="LiveId" clId="{77711C24-CE86-4310-83AB-2BFC8187209E}" dt="2018-11-15T12:02:29.870" v="26191"/>
          <ac:spMkLst>
            <pc:docMk/>
            <pc:sldMk cId="1561739842" sldId="721"/>
            <ac:spMk id="2" creationId="{75A40949-6845-4528-AD16-EE1EAA09DA69}"/>
          </ac:spMkLst>
        </pc:spChg>
        <pc:spChg chg="del mod ord">
          <ac:chgData name="Yakov Pakhomov" userId="857a8f7002735771" providerId="LiveId" clId="{77711C24-CE86-4310-83AB-2BFC8187209E}" dt="2018-11-15T09:28:36.443" v="20822"/>
          <ac:spMkLst>
            <pc:docMk/>
            <pc:sldMk cId="1561739842" sldId="721"/>
            <ac:spMk id="3" creationId="{E0E2D3F9-3529-4D5C-ABC0-6CDD69CEBC8F}"/>
          </ac:spMkLst>
        </pc:spChg>
        <pc:spChg chg="mod ord">
          <ac:chgData name="Yakov Pakhomov" userId="857a8f7002735771" providerId="LiveId" clId="{77711C24-CE86-4310-83AB-2BFC8187209E}" dt="2018-11-15T12:02:29.870" v="26191"/>
          <ac:spMkLst>
            <pc:docMk/>
            <pc:sldMk cId="1561739842" sldId="721"/>
            <ac:spMk id="4" creationId="{C2AF77FD-BE2B-4954-A24B-13B22C5BF045}"/>
          </ac:spMkLst>
        </pc:spChg>
        <pc:spChg chg="mod ord">
          <ac:chgData name="Yakov Pakhomov" userId="857a8f7002735771" providerId="LiveId" clId="{77711C24-CE86-4310-83AB-2BFC8187209E}" dt="2018-11-15T12:02:29.870" v="26191"/>
          <ac:spMkLst>
            <pc:docMk/>
            <pc:sldMk cId="1561739842" sldId="721"/>
            <ac:spMk id="7" creationId="{26C7850C-F8FC-42CF-A6D3-374C0B3E42A0}"/>
          </ac:spMkLst>
        </pc:spChg>
        <pc:spChg chg="add mod ord">
          <ac:chgData name="Yakov Pakhomov" userId="857a8f7002735771" providerId="LiveId" clId="{77711C24-CE86-4310-83AB-2BFC8187209E}" dt="2018-11-15T12:02:29.870" v="26191"/>
          <ac:spMkLst>
            <pc:docMk/>
            <pc:sldMk cId="1561739842" sldId="721"/>
            <ac:spMk id="8" creationId="{5D41F3AC-7470-4E94-B5DA-8DD179C9E32C}"/>
          </ac:spMkLst>
        </pc:spChg>
        <pc:spChg chg="mod ord">
          <ac:chgData name="Yakov Pakhomov" userId="857a8f7002735771" providerId="LiveId" clId="{77711C24-CE86-4310-83AB-2BFC8187209E}" dt="2018-11-15T12:02:29.870" v="26191"/>
          <ac:spMkLst>
            <pc:docMk/>
            <pc:sldMk cId="1561739842" sldId="721"/>
            <ac:spMk id="9" creationId="{E1E40E04-B72D-41F2-BDD3-CC24DA42056D}"/>
          </ac:spMkLst>
        </pc:spChg>
        <pc:spChg chg="add del mod ord">
          <ac:chgData name="Yakov Pakhomov" userId="857a8f7002735771" providerId="LiveId" clId="{77711C24-CE86-4310-83AB-2BFC8187209E}" dt="2018-11-15T09:28:50.825" v="21199"/>
          <ac:spMkLst>
            <pc:docMk/>
            <pc:sldMk cId="1561739842" sldId="721"/>
            <ac:spMk id="10" creationId="{BD90DF26-FC5A-4193-81B2-475E58B0F928}"/>
          </ac:spMkLst>
        </pc:spChg>
        <pc:spChg chg="add del mod ord">
          <ac:chgData name="Yakov Pakhomov" userId="857a8f7002735771" providerId="LiveId" clId="{77711C24-CE86-4310-83AB-2BFC8187209E}" dt="2018-11-15T09:30:18.108" v="23494"/>
          <ac:spMkLst>
            <pc:docMk/>
            <pc:sldMk cId="1561739842" sldId="721"/>
            <ac:spMk id="11" creationId="{62174625-7F41-441C-829D-5734FEA9353C}"/>
          </ac:spMkLst>
        </pc:spChg>
        <pc:spChg chg="add del mod ord">
          <ac:chgData name="Yakov Pakhomov" userId="857a8f7002735771" providerId="LiveId" clId="{77711C24-CE86-4310-83AB-2BFC8187209E}" dt="2018-11-15T09:29:36.369" v="21946"/>
          <ac:spMkLst>
            <pc:docMk/>
            <pc:sldMk cId="1561739842" sldId="721"/>
            <ac:spMk id="12" creationId="{B6CCD25B-D5A3-4914-891E-978E74E335B6}"/>
          </ac:spMkLst>
        </pc:spChg>
        <pc:spChg chg="add del mod ord">
          <ac:chgData name="Yakov Pakhomov" userId="857a8f7002735771" providerId="LiveId" clId="{77711C24-CE86-4310-83AB-2BFC8187209E}" dt="2018-11-15T09:29:37.228" v="22059"/>
          <ac:spMkLst>
            <pc:docMk/>
            <pc:sldMk cId="1561739842" sldId="721"/>
            <ac:spMk id="13" creationId="{2779ED3B-E1D6-49BF-B32B-307BC88479B8}"/>
          </ac:spMkLst>
        </pc:spChg>
        <pc:spChg chg="add del mod ord">
          <ac:chgData name="Yakov Pakhomov" userId="857a8f7002735771" providerId="LiveId" clId="{77711C24-CE86-4310-83AB-2BFC8187209E}" dt="2018-11-15T09:29:37.987" v="22173"/>
          <ac:spMkLst>
            <pc:docMk/>
            <pc:sldMk cId="1561739842" sldId="721"/>
            <ac:spMk id="14" creationId="{DDFD3915-B182-40E3-92AF-1420AEB9ECE1}"/>
          </ac:spMkLst>
        </pc:spChg>
        <pc:spChg chg="add del mod ord">
          <ac:chgData name="Yakov Pakhomov" userId="857a8f7002735771" providerId="LiveId" clId="{77711C24-CE86-4310-83AB-2BFC8187209E}" dt="2018-11-15T09:29:39.665" v="22294"/>
          <ac:spMkLst>
            <pc:docMk/>
            <pc:sldMk cId="1561739842" sldId="721"/>
            <ac:spMk id="15" creationId="{EE9EDE83-2E87-4580-84B7-7B0C2A5A8FDB}"/>
          </ac:spMkLst>
        </pc:spChg>
        <pc:spChg chg="add del mod ord">
          <ac:chgData name="Yakov Pakhomov" userId="857a8f7002735771" providerId="LiveId" clId="{77711C24-CE86-4310-83AB-2BFC8187209E}" dt="2018-11-15T09:29:42.271" v="22411"/>
          <ac:spMkLst>
            <pc:docMk/>
            <pc:sldMk cId="1561739842" sldId="721"/>
            <ac:spMk id="16" creationId="{7B2C847C-8F97-45B7-8607-8B91B4FFAFAC}"/>
          </ac:spMkLst>
        </pc:spChg>
        <pc:spChg chg="add del mod ord">
          <ac:chgData name="Yakov Pakhomov" userId="857a8f7002735771" providerId="LiveId" clId="{77711C24-CE86-4310-83AB-2BFC8187209E}" dt="2018-11-15T09:29:43.542" v="22525"/>
          <ac:spMkLst>
            <pc:docMk/>
            <pc:sldMk cId="1561739842" sldId="721"/>
            <ac:spMk id="17" creationId="{8C0CC5B1-8BA9-4AE8-9457-22847AE17451}"/>
          </ac:spMkLst>
        </pc:spChg>
        <pc:spChg chg="add del mod ord">
          <ac:chgData name="Yakov Pakhomov" userId="857a8f7002735771" providerId="LiveId" clId="{77711C24-CE86-4310-83AB-2BFC8187209E}" dt="2018-11-15T09:29:44.425" v="22639"/>
          <ac:spMkLst>
            <pc:docMk/>
            <pc:sldMk cId="1561739842" sldId="721"/>
            <ac:spMk id="18" creationId="{87686FBB-87E9-4CA4-9231-53BE80021258}"/>
          </ac:spMkLst>
        </pc:spChg>
        <pc:spChg chg="add del mod ord">
          <ac:chgData name="Yakov Pakhomov" userId="857a8f7002735771" providerId="LiveId" clId="{77711C24-CE86-4310-83AB-2BFC8187209E}" dt="2018-11-15T09:29:45.572" v="22753"/>
          <ac:spMkLst>
            <pc:docMk/>
            <pc:sldMk cId="1561739842" sldId="721"/>
            <ac:spMk id="19" creationId="{35BDFF93-D6B7-4160-A81D-D7450A1DEA5F}"/>
          </ac:spMkLst>
        </pc:spChg>
        <pc:spChg chg="add del mod ord">
          <ac:chgData name="Yakov Pakhomov" userId="857a8f7002735771" providerId="LiveId" clId="{77711C24-CE86-4310-83AB-2BFC8187209E}" dt="2018-11-15T09:29:47.407" v="22867"/>
          <ac:spMkLst>
            <pc:docMk/>
            <pc:sldMk cId="1561739842" sldId="721"/>
            <ac:spMk id="20" creationId="{2DB8423E-1AEF-4321-AA37-033229449580}"/>
          </ac:spMkLst>
        </pc:spChg>
        <pc:spChg chg="add del mod ord">
          <ac:chgData name="Yakov Pakhomov" userId="857a8f7002735771" providerId="LiveId" clId="{77711C24-CE86-4310-83AB-2BFC8187209E}" dt="2018-11-15T09:29:56.008" v="22980"/>
          <ac:spMkLst>
            <pc:docMk/>
            <pc:sldMk cId="1561739842" sldId="721"/>
            <ac:spMk id="21" creationId="{C9CDA3FD-3407-4648-944F-747FDC95E86D}"/>
          </ac:spMkLst>
        </pc:spChg>
        <pc:spChg chg="add del mod ord">
          <ac:chgData name="Yakov Pakhomov" userId="857a8f7002735771" providerId="LiveId" clId="{77711C24-CE86-4310-83AB-2BFC8187209E}" dt="2018-11-15T12:02:29.870" v="26191"/>
          <ac:spMkLst>
            <pc:docMk/>
            <pc:sldMk cId="1561739842" sldId="721"/>
            <ac:spMk id="22" creationId="{2316BE81-B731-4EBE-BD4C-94219ED23BAC}"/>
          </ac:spMkLst>
        </pc:spChg>
        <pc:spChg chg="add del mod ord">
          <ac:chgData name="Yakov Pakhomov" userId="857a8f7002735771" providerId="LiveId" clId="{77711C24-CE86-4310-83AB-2BFC8187209E}" dt="2018-11-15T09:30:22.035" v="23884"/>
          <ac:spMkLst>
            <pc:docMk/>
            <pc:sldMk cId="1561739842" sldId="721"/>
            <ac:spMk id="23" creationId="{F5351D03-6661-4B73-9CE3-93212EC5C491}"/>
          </ac:spMkLst>
        </pc:spChg>
        <pc:spChg chg="add del mod ord">
          <ac:chgData name="Yakov Pakhomov" userId="857a8f7002735771" providerId="LiveId" clId="{77711C24-CE86-4310-83AB-2BFC8187209E}" dt="2018-11-15T09:30:36.126" v="24110"/>
          <ac:spMkLst>
            <pc:docMk/>
            <pc:sldMk cId="1561739842" sldId="721"/>
            <ac:spMk id="24" creationId="{BDF1724F-A341-4AB9-ABB1-5498DF829266}"/>
          </ac:spMkLst>
        </pc:spChg>
        <pc:spChg chg="add del mod ord">
          <ac:chgData name="Yakov Pakhomov" userId="857a8f7002735771" providerId="LiveId" clId="{77711C24-CE86-4310-83AB-2BFC8187209E}" dt="2018-11-15T09:54:46.611" v="24834"/>
          <ac:spMkLst>
            <pc:docMk/>
            <pc:sldMk cId="1561739842" sldId="721"/>
            <ac:spMk id="25" creationId="{2641EFBA-94D5-4E7B-9679-AF19A7A798B8}"/>
          </ac:spMkLst>
        </pc:spChg>
        <pc:graphicFrameChg chg="mod ord">
          <ac:chgData name="Yakov Pakhomov" userId="857a8f7002735771" providerId="LiveId" clId="{77711C24-CE86-4310-83AB-2BFC8187209E}" dt="2018-11-15T12:02:29.959" v="26199"/>
          <ac:graphicFrameMkLst>
            <pc:docMk/>
            <pc:sldMk cId="1561739842" sldId="721"/>
            <ac:graphicFrameMk id="5" creationId="{F65593A0-7B9E-41CD-8C39-B260645020DC}"/>
          </ac:graphicFrameMkLst>
        </pc:graphicFrameChg>
        <pc:graphicFrameChg chg="add del mod ord">
          <ac:chgData name="Yakov Pakhomov" userId="857a8f7002735771" providerId="LiveId" clId="{77711C24-CE86-4310-83AB-2BFC8187209E}" dt="2018-11-15T09:30:33.615" v="24101" actId="478"/>
          <ac:graphicFrameMkLst>
            <pc:docMk/>
            <pc:sldMk cId="1561739842" sldId="721"/>
            <ac:graphicFrameMk id="6" creationId="{1402DF72-C462-4D99-BA17-1C30410ED5E5}"/>
          </ac:graphicFrameMkLst>
        </pc:graphicFrameChg>
      </pc:sldChg>
      <pc:sldChg chg="addSp delSp modSp add del ord modTransition">
        <pc:chgData name="Yakov Pakhomov" userId="857a8f7002735771" providerId="LiveId" clId="{77711C24-CE86-4310-83AB-2BFC8187209E}" dt="2018-11-15T09:30:35.231" v="24102" actId="2696"/>
        <pc:sldMkLst>
          <pc:docMk/>
          <pc:sldMk cId="179386867" sldId="722"/>
        </pc:sldMkLst>
        <pc:spChg chg="mod ord">
          <ac:chgData name="Yakov Pakhomov" userId="857a8f7002735771" providerId="LiveId" clId="{77711C24-CE86-4310-83AB-2BFC8187209E}" dt="2018-11-15T09:30:18.465" v="23800"/>
          <ac:spMkLst>
            <pc:docMk/>
            <pc:sldMk cId="179386867" sldId="722"/>
            <ac:spMk id="2" creationId="{75A40949-6845-4528-AD16-EE1EAA09DA69}"/>
          </ac:spMkLst>
        </pc:spChg>
        <pc:spChg chg="mod ord">
          <ac:chgData name="Yakov Pakhomov" userId="857a8f7002735771" providerId="LiveId" clId="{77711C24-CE86-4310-83AB-2BFC8187209E}" dt="2018-11-15T09:30:22.100" v="23915" actId="6549"/>
          <ac:spMkLst>
            <pc:docMk/>
            <pc:sldMk cId="179386867" sldId="722"/>
            <ac:spMk id="4" creationId="{C2AF77FD-BE2B-4954-A24B-13B22C5BF045}"/>
          </ac:spMkLst>
        </pc:spChg>
        <pc:spChg chg="mod ord">
          <ac:chgData name="Yakov Pakhomov" userId="857a8f7002735771" providerId="LiveId" clId="{77711C24-CE86-4310-83AB-2BFC8187209E}" dt="2018-11-15T09:30:22.205" v="24085"/>
          <ac:spMkLst>
            <pc:docMk/>
            <pc:sldMk cId="179386867" sldId="722"/>
            <ac:spMk id="7" creationId="{26C7850C-F8FC-42CF-A6D3-374C0B3E42A0}"/>
          </ac:spMkLst>
        </pc:spChg>
        <pc:spChg chg="mod ord">
          <ac:chgData name="Yakov Pakhomov" userId="857a8f7002735771" providerId="LiveId" clId="{77711C24-CE86-4310-83AB-2BFC8187209E}" dt="2018-11-15T09:30:22.202" v="24077"/>
          <ac:spMkLst>
            <pc:docMk/>
            <pc:sldMk cId="179386867" sldId="722"/>
            <ac:spMk id="8" creationId="{5D41F3AC-7470-4E94-B5DA-8DD179C9E32C}"/>
          </ac:spMkLst>
        </pc:spChg>
        <pc:spChg chg="mod ord">
          <ac:chgData name="Yakov Pakhomov" userId="857a8f7002735771" providerId="LiveId" clId="{77711C24-CE86-4310-83AB-2BFC8187209E}" dt="2018-11-15T09:30:22.206" v="24089"/>
          <ac:spMkLst>
            <pc:docMk/>
            <pc:sldMk cId="179386867" sldId="722"/>
            <ac:spMk id="9" creationId="{E1E40E04-B72D-41F2-BDD3-CC24DA42056D}"/>
          </ac:spMkLst>
        </pc:spChg>
        <pc:spChg chg="add mod ord">
          <ac:chgData name="Yakov Pakhomov" userId="857a8f7002735771" providerId="LiveId" clId="{77711C24-CE86-4310-83AB-2BFC8187209E}" dt="2018-11-15T09:30:22.200" v="24073"/>
          <ac:spMkLst>
            <pc:docMk/>
            <pc:sldMk cId="179386867" sldId="722"/>
            <ac:spMk id="10" creationId="{F6C0203D-CE7B-4A8A-B43D-DC73F21F6A1F}"/>
          </ac:spMkLst>
        </pc:spChg>
        <pc:spChg chg="add del mod ord">
          <ac:chgData name="Yakov Pakhomov" userId="857a8f7002735771" providerId="LiveId" clId="{77711C24-CE86-4310-83AB-2BFC8187209E}" dt="2018-11-15T09:29:36.398" v="21953"/>
          <ac:spMkLst>
            <pc:docMk/>
            <pc:sldMk cId="179386867" sldId="722"/>
            <ac:spMk id="11" creationId="{E52F1B41-88F9-4BAD-99E0-83333E016AA7}"/>
          </ac:spMkLst>
        </pc:spChg>
        <pc:spChg chg="add del mod ord">
          <ac:chgData name="Yakov Pakhomov" userId="857a8f7002735771" providerId="LiveId" clId="{77711C24-CE86-4310-83AB-2BFC8187209E}" dt="2018-11-15T09:29:37.251" v="22066"/>
          <ac:spMkLst>
            <pc:docMk/>
            <pc:sldMk cId="179386867" sldId="722"/>
            <ac:spMk id="12" creationId="{1CAE1EFB-7860-4117-9BAE-BC96707BEDD9}"/>
          </ac:spMkLst>
        </pc:spChg>
        <pc:spChg chg="add del mod ord">
          <ac:chgData name="Yakov Pakhomov" userId="857a8f7002735771" providerId="LiveId" clId="{77711C24-CE86-4310-83AB-2BFC8187209E}" dt="2018-11-15T09:29:38.013" v="22180"/>
          <ac:spMkLst>
            <pc:docMk/>
            <pc:sldMk cId="179386867" sldId="722"/>
            <ac:spMk id="13" creationId="{557D1694-6B38-4573-912A-4501D6E5882D}"/>
          </ac:spMkLst>
        </pc:spChg>
        <pc:spChg chg="add del mod ord">
          <ac:chgData name="Yakov Pakhomov" userId="857a8f7002735771" providerId="LiveId" clId="{77711C24-CE86-4310-83AB-2BFC8187209E}" dt="2018-11-15T09:29:39.693" v="22303"/>
          <ac:spMkLst>
            <pc:docMk/>
            <pc:sldMk cId="179386867" sldId="722"/>
            <ac:spMk id="14" creationId="{CC3BB013-26FE-4DEF-BD87-1E57BF43114C}"/>
          </ac:spMkLst>
        </pc:spChg>
        <pc:spChg chg="add del mod ord">
          <ac:chgData name="Yakov Pakhomov" userId="857a8f7002735771" providerId="LiveId" clId="{77711C24-CE86-4310-83AB-2BFC8187209E}" dt="2018-11-15T09:29:42.295" v="22418"/>
          <ac:spMkLst>
            <pc:docMk/>
            <pc:sldMk cId="179386867" sldId="722"/>
            <ac:spMk id="15" creationId="{E582F1C1-108D-40A6-A61F-FA0FD22510F4}"/>
          </ac:spMkLst>
        </pc:spChg>
        <pc:spChg chg="add del mod ord">
          <ac:chgData name="Yakov Pakhomov" userId="857a8f7002735771" providerId="LiveId" clId="{77711C24-CE86-4310-83AB-2BFC8187209E}" dt="2018-11-15T09:29:43.566" v="22532"/>
          <ac:spMkLst>
            <pc:docMk/>
            <pc:sldMk cId="179386867" sldId="722"/>
            <ac:spMk id="16" creationId="{78696971-0A57-4526-AA7C-39E36E535DBF}"/>
          </ac:spMkLst>
        </pc:spChg>
        <pc:spChg chg="add del mod ord">
          <ac:chgData name="Yakov Pakhomov" userId="857a8f7002735771" providerId="LiveId" clId="{77711C24-CE86-4310-83AB-2BFC8187209E}" dt="2018-11-15T09:29:44.452" v="22646"/>
          <ac:spMkLst>
            <pc:docMk/>
            <pc:sldMk cId="179386867" sldId="722"/>
            <ac:spMk id="17" creationId="{C81D3019-A8B7-45BE-B159-CA93F61C6483}"/>
          </ac:spMkLst>
        </pc:spChg>
        <pc:spChg chg="add del mod ord">
          <ac:chgData name="Yakov Pakhomov" userId="857a8f7002735771" providerId="LiveId" clId="{77711C24-CE86-4310-83AB-2BFC8187209E}" dt="2018-11-15T09:29:45.601" v="22760"/>
          <ac:spMkLst>
            <pc:docMk/>
            <pc:sldMk cId="179386867" sldId="722"/>
            <ac:spMk id="18" creationId="{F48F111A-CD2B-4315-90CF-F9A8D32CE4C3}"/>
          </ac:spMkLst>
        </pc:spChg>
        <pc:spChg chg="add del mod ord">
          <ac:chgData name="Yakov Pakhomov" userId="857a8f7002735771" providerId="LiveId" clId="{77711C24-CE86-4310-83AB-2BFC8187209E}" dt="2018-11-15T09:29:47.438" v="22874"/>
          <ac:spMkLst>
            <pc:docMk/>
            <pc:sldMk cId="179386867" sldId="722"/>
            <ac:spMk id="19" creationId="{C2BE2BA4-9E2B-40C1-BEE9-F322FBBDEF14}"/>
          </ac:spMkLst>
        </pc:spChg>
        <pc:spChg chg="add del mod ord">
          <ac:chgData name="Yakov Pakhomov" userId="857a8f7002735771" providerId="LiveId" clId="{77711C24-CE86-4310-83AB-2BFC8187209E}" dt="2018-11-15T09:29:56.038" v="22987"/>
          <ac:spMkLst>
            <pc:docMk/>
            <pc:sldMk cId="179386867" sldId="722"/>
            <ac:spMk id="20" creationId="{7F309DC6-88BE-46B4-A73E-01E78C8E30B8}"/>
          </ac:spMkLst>
        </pc:spChg>
        <pc:spChg chg="add del mod ord">
          <ac:chgData name="Yakov Pakhomov" userId="857a8f7002735771" providerId="LiveId" clId="{77711C24-CE86-4310-83AB-2BFC8187209E}" dt="2018-11-15T09:30:22.203" v="24081"/>
          <ac:spMkLst>
            <pc:docMk/>
            <pc:sldMk cId="179386867" sldId="722"/>
            <ac:spMk id="21" creationId="{7E9B7BF2-4F04-4A55-B4EF-998B1241EAF5}"/>
          </ac:spMkLst>
        </pc:spChg>
        <pc:graphicFrameChg chg="mod ord">
          <ac:chgData name="Yakov Pakhomov" userId="857a8f7002735771" providerId="LiveId" clId="{77711C24-CE86-4310-83AB-2BFC8187209E}" dt="2018-11-15T09:30:22.219" v="24099"/>
          <ac:graphicFrameMkLst>
            <pc:docMk/>
            <pc:sldMk cId="179386867" sldId="722"/>
            <ac:graphicFrameMk id="5" creationId="{F65593A0-7B9E-41CD-8C39-B260645020DC}"/>
          </ac:graphicFrameMkLst>
        </pc:graphicFrameChg>
        <pc:graphicFrameChg chg="del mod ord">
          <ac:chgData name="Yakov Pakhomov" userId="857a8f7002735771" providerId="LiveId" clId="{77711C24-CE86-4310-83AB-2BFC8187209E}" dt="2018-11-15T09:29:04.737" v="21558" actId="478"/>
          <ac:graphicFrameMkLst>
            <pc:docMk/>
            <pc:sldMk cId="179386867" sldId="722"/>
            <ac:graphicFrameMk id="6" creationId="{1402DF72-C462-4D99-BA17-1C30410ED5E5}"/>
          </ac:graphicFrameMkLst>
        </pc:graphicFrameChg>
      </pc:sldChg>
      <pc:sldChg chg="addSp modSp add del ord modTransition">
        <pc:chgData name="Yakov Pakhomov" userId="857a8f7002735771" providerId="LiveId" clId="{77711C24-CE86-4310-83AB-2BFC8187209E}" dt="2018-11-15T09:28:50.302" v="21193" actId="2696"/>
        <pc:sldMkLst>
          <pc:docMk/>
          <pc:sldMk cId="449563688" sldId="722"/>
        </pc:sldMkLst>
        <pc:spChg chg="mod ord">
          <ac:chgData name="Yakov Pakhomov" userId="857a8f7002735771" providerId="LiveId" clId="{77711C24-CE86-4310-83AB-2BFC8187209E}" dt="2018-11-15T09:28:43.660" v="21174"/>
          <ac:spMkLst>
            <pc:docMk/>
            <pc:sldMk cId="449563688" sldId="722"/>
            <ac:spMk id="2" creationId="{75A40949-6845-4528-AD16-EE1EAA09DA69}"/>
          </ac:spMkLst>
        </pc:spChg>
        <pc:spChg chg="mod ord">
          <ac:chgData name="Yakov Pakhomov" userId="857a8f7002735771" providerId="LiveId" clId="{77711C24-CE86-4310-83AB-2BFC8187209E}" dt="2018-11-15T09:28:43.660" v="21172"/>
          <ac:spMkLst>
            <pc:docMk/>
            <pc:sldMk cId="449563688" sldId="722"/>
            <ac:spMk id="4" creationId="{C2AF77FD-BE2B-4954-A24B-13B22C5BF045}"/>
          </ac:spMkLst>
        </pc:spChg>
        <pc:spChg chg="mod ord">
          <ac:chgData name="Yakov Pakhomov" userId="857a8f7002735771" providerId="LiveId" clId="{77711C24-CE86-4310-83AB-2BFC8187209E}" dt="2018-11-15T09:28:43.662" v="21180"/>
          <ac:spMkLst>
            <pc:docMk/>
            <pc:sldMk cId="449563688" sldId="722"/>
            <ac:spMk id="7" creationId="{26C7850C-F8FC-42CF-A6D3-374C0B3E42A0}"/>
          </ac:spMkLst>
        </pc:spChg>
        <pc:spChg chg="mod ord">
          <ac:chgData name="Yakov Pakhomov" userId="857a8f7002735771" providerId="LiveId" clId="{77711C24-CE86-4310-83AB-2BFC8187209E}" dt="2018-11-15T09:28:43.661" v="21178"/>
          <ac:spMkLst>
            <pc:docMk/>
            <pc:sldMk cId="449563688" sldId="722"/>
            <ac:spMk id="8" creationId="{5D41F3AC-7470-4E94-B5DA-8DD179C9E32C}"/>
          </ac:spMkLst>
        </pc:spChg>
        <pc:spChg chg="mod ord">
          <ac:chgData name="Yakov Pakhomov" userId="857a8f7002735771" providerId="LiveId" clId="{77711C24-CE86-4310-83AB-2BFC8187209E}" dt="2018-11-15T09:28:43.663" v="21182"/>
          <ac:spMkLst>
            <pc:docMk/>
            <pc:sldMk cId="449563688" sldId="722"/>
            <ac:spMk id="9" creationId="{E1E40E04-B72D-41F2-BDD3-CC24DA42056D}"/>
          </ac:spMkLst>
        </pc:spChg>
        <pc:spChg chg="add mod ord">
          <ac:chgData name="Yakov Pakhomov" userId="857a8f7002735771" providerId="LiveId" clId="{77711C24-CE86-4310-83AB-2BFC8187209E}" dt="2018-11-15T09:28:43.661" v="21176"/>
          <ac:spMkLst>
            <pc:docMk/>
            <pc:sldMk cId="449563688" sldId="722"/>
            <ac:spMk id="10" creationId="{F290A6D4-D9B3-4E9B-BD37-9ABB47048310}"/>
          </ac:spMkLst>
        </pc:spChg>
        <pc:graphicFrameChg chg="mod ord">
          <ac:chgData name="Yakov Pakhomov" userId="857a8f7002735771" providerId="LiveId" clId="{77711C24-CE86-4310-83AB-2BFC8187209E}" dt="2018-11-15T09:28:43.666" v="21186"/>
          <ac:graphicFrameMkLst>
            <pc:docMk/>
            <pc:sldMk cId="449563688" sldId="722"/>
            <ac:graphicFrameMk id="5" creationId="{F65593A0-7B9E-41CD-8C39-B260645020DC}"/>
          </ac:graphicFrameMkLst>
        </pc:graphicFrameChg>
        <pc:graphicFrameChg chg="mod ord">
          <ac:chgData name="Yakov Pakhomov" userId="857a8f7002735771" providerId="LiveId" clId="{77711C24-CE86-4310-83AB-2BFC8187209E}" dt="2018-11-15T09:28:43.663" v="21184"/>
          <ac:graphicFrameMkLst>
            <pc:docMk/>
            <pc:sldMk cId="449563688" sldId="722"/>
            <ac:graphicFrameMk id="6" creationId="{1402DF72-C462-4D99-BA17-1C30410ED5E5}"/>
          </ac:graphicFrameMkLst>
        </pc:graphicFrameChg>
      </pc:sldChg>
      <pc:sldChg chg="addSp delSp modSp add ord modTransition">
        <pc:chgData name="Yakov Pakhomov" userId="857a8f7002735771" providerId="LiveId" clId="{77711C24-CE86-4310-83AB-2BFC8187209E}" dt="2018-11-15T12:02:29.897" v="26193"/>
        <pc:sldMkLst>
          <pc:docMk/>
          <pc:sldMk cId="206494816" sldId="723"/>
        </pc:sldMkLst>
        <pc:spChg chg="mod ord">
          <ac:chgData name="Yakov Pakhomov" userId="857a8f7002735771" providerId="LiveId" clId="{77711C24-CE86-4310-83AB-2BFC8187209E}" dt="2018-11-15T12:02:29.870" v="26191"/>
          <ac:spMkLst>
            <pc:docMk/>
            <pc:sldMk cId="206494816" sldId="723"/>
            <ac:spMk id="2" creationId="{75A40949-6845-4528-AD16-EE1EAA09DA69}"/>
          </ac:spMkLst>
        </pc:spChg>
        <pc:spChg chg="mod ord">
          <ac:chgData name="Yakov Pakhomov" userId="857a8f7002735771" providerId="LiveId" clId="{77711C24-CE86-4310-83AB-2BFC8187209E}" dt="2018-11-15T12:02:29.870" v="26191"/>
          <ac:spMkLst>
            <pc:docMk/>
            <pc:sldMk cId="206494816" sldId="723"/>
            <ac:spMk id="4" creationId="{C2AF77FD-BE2B-4954-A24B-13B22C5BF045}"/>
          </ac:spMkLst>
        </pc:spChg>
        <pc:spChg chg="add del mod ord">
          <ac:chgData name="Yakov Pakhomov" userId="857a8f7002735771" providerId="LiveId" clId="{77711C24-CE86-4310-83AB-2BFC8187209E}" dt="2018-11-15T12:02:29.870" v="26191"/>
          <ac:spMkLst>
            <pc:docMk/>
            <pc:sldMk cId="206494816" sldId="723"/>
            <ac:spMk id="7" creationId="{26C7850C-F8FC-42CF-A6D3-374C0B3E42A0}"/>
          </ac:spMkLst>
        </pc:spChg>
        <pc:spChg chg="add del mod ord">
          <ac:chgData name="Yakov Pakhomov" userId="857a8f7002735771" providerId="LiveId" clId="{77711C24-CE86-4310-83AB-2BFC8187209E}" dt="2018-11-15T12:02:29.870" v="26191"/>
          <ac:spMkLst>
            <pc:docMk/>
            <pc:sldMk cId="206494816" sldId="723"/>
            <ac:spMk id="8" creationId="{5D41F3AC-7470-4E94-B5DA-8DD179C9E32C}"/>
          </ac:spMkLst>
        </pc:spChg>
        <pc:spChg chg="add del mod ord">
          <ac:chgData name="Yakov Pakhomov" userId="857a8f7002735771" providerId="LiveId" clId="{77711C24-CE86-4310-83AB-2BFC8187209E}" dt="2018-11-15T12:02:29.870" v="26191"/>
          <ac:spMkLst>
            <pc:docMk/>
            <pc:sldMk cId="206494816" sldId="723"/>
            <ac:spMk id="9" creationId="{E1E40E04-B72D-41F2-BDD3-CC24DA42056D}"/>
          </ac:spMkLst>
        </pc:spChg>
        <pc:spChg chg="add del mod ord">
          <ac:chgData name="Yakov Pakhomov" userId="857a8f7002735771" providerId="LiveId" clId="{77711C24-CE86-4310-83AB-2BFC8187209E}" dt="2018-11-15T12:02:29.870" v="26191"/>
          <ac:spMkLst>
            <pc:docMk/>
            <pc:sldMk cId="206494816" sldId="723"/>
            <ac:spMk id="10" creationId="{4A675E90-E693-4290-B5D7-DAA775830F0C}"/>
          </ac:spMkLst>
        </pc:spChg>
        <pc:spChg chg="add del mod ord">
          <ac:chgData name="Yakov Pakhomov" userId="857a8f7002735771" providerId="LiveId" clId="{77711C24-CE86-4310-83AB-2BFC8187209E}" dt="2018-11-15T09:30:17.904" v="23388"/>
          <ac:spMkLst>
            <pc:docMk/>
            <pc:sldMk cId="206494816" sldId="723"/>
            <ac:spMk id="11" creationId="{62174625-7F41-441C-829D-5734FEA9353C}"/>
          </ac:spMkLst>
        </pc:spChg>
        <pc:spChg chg="add del mod ord">
          <ac:chgData name="Yakov Pakhomov" userId="857a8f7002735771" providerId="LiveId" clId="{77711C24-CE86-4310-83AB-2BFC8187209E}" dt="2018-11-15T09:30:21.945" v="23844"/>
          <ac:spMkLst>
            <pc:docMk/>
            <pc:sldMk cId="206494816" sldId="723"/>
            <ac:spMk id="12" creationId="{BC4EBA40-7CCB-42A1-BF63-AAFF05942F5C}"/>
          </ac:spMkLst>
        </pc:spChg>
        <pc:spChg chg="add del mod ord">
          <ac:chgData name="Yakov Pakhomov" userId="857a8f7002735771" providerId="LiveId" clId="{77711C24-CE86-4310-83AB-2BFC8187209E}" dt="2018-11-15T09:30:36.124" v="24106"/>
          <ac:spMkLst>
            <pc:docMk/>
            <pc:sldMk cId="206494816" sldId="723"/>
            <ac:spMk id="13" creationId="{6C8CA0E8-3A20-4BB0-AE1B-AB2D47EA1D8F}"/>
          </ac:spMkLst>
        </pc:spChg>
        <pc:spChg chg="add del mod ord">
          <ac:chgData name="Yakov Pakhomov" userId="857a8f7002735771" providerId="LiveId" clId="{77711C24-CE86-4310-83AB-2BFC8187209E}" dt="2018-11-15T09:54:46.611" v="24834"/>
          <ac:spMkLst>
            <pc:docMk/>
            <pc:sldMk cId="206494816" sldId="723"/>
            <ac:spMk id="14" creationId="{FC22B106-B160-45F9-8A33-411A07AAC0E6}"/>
          </ac:spMkLst>
        </pc:spChg>
        <pc:graphicFrameChg chg="mod ord">
          <ac:chgData name="Yakov Pakhomov" userId="857a8f7002735771" providerId="LiveId" clId="{77711C24-CE86-4310-83AB-2BFC8187209E}" dt="2018-11-15T12:02:29.897" v="26193"/>
          <ac:graphicFrameMkLst>
            <pc:docMk/>
            <pc:sldMk cId="206494816" sldId="723"/>
            <ac:graphicFrameMk id="5" creationId="{F65593A0-7B9E-41CD-8C39-B260645020DC}"/>
          </ac:graphicFrameMkLst>
        </pc:graphicFrameChg>
        <pc:graphicFrameChg chg="del mod ord">
          <ac:chgData name="Yakov Pakhomov" userId="857a8f7002735771" providerId="LiveId" clId="{77711C24-CE86-4310-83AB-2BFC8187209E}" dt="2018-11-15T09:29:29.400" v="21928" actId="478"/>
          <ac:graphicFrameMkLst>
            <pc:docMk/>
            <pc:sldMk cId="206494816" sldId="723"/>
            <ac:graphicFrameMk id="6" creationId="{1402DF72-C462-4D99-BA17-1C30410ED5E5}"/>
          </ac:graphicFrameMkLst>
        </pc:graphicFrameChg>
      </pc:sldChg>
      <pc:sldChg chg="addSp delSp modSp add ord">
        <pc:chgData name="Yakov Pakhomov" userId="857a8f7002735771" providerId="LiveId" clId="{77711C24-CE86-4310-83AB-2BFC8187209E}" dt="2018-11-15T09:35:23.285" v="24275" actId="20577"/>
        <pc:sldMkLst>
          <pc:docMk/>
          <pc:sldMk cId="444720966" sldId="724"/>
        </pc:sldMkLst>
        <pc:spChg chg="del">
          <ac:chgData name="Yakov Pakhomov" userId="857a8f7002735771" providerId="LiveId" clId="{77711C24-CE86-4310-83AB-2BFC8187209E}" dt="2018-11-15T09:30:56.706" v="24249"/>
          <ac:spMkLst>
            <pc:docMk/>
            <pc:sldMk cId="444720966" sldId="724"/>
            <ac:spMk id="2" creationId="{614512E8-24A0-49CC-A745-ABA6C9970BCD}"/>
          </ac:spMkLst>
        </pc:spChg>
        <pc:spChg chg="mod">
          <ac:chgData name="Yakov Pakhomov" userId="857a8f7002735771" providerId="LiveId" clId="{77711C24-CE86-4310-83AB-2BFC8187209E}" dt="2018-11-15T09:35:23.285" v="24275" actId="20577"/>
          <ac:spMkLst>
            <pc:docMk/>
            <pc:sldMk cId="444720966" sldId="724"/>
            <ac:spMk id="4" creationId="{D129A2D4-7731-4D0A-8CDD-3824484AA6B5}"/>
          </ac:spMkLst>
        </pc:spChg>
        <pc:graphicFrameChg chg="add mod">
          <ac:chgData name="Yakov Pakhomov" userId="857a8f7002735771" providerId="LiveId" clId="{77711C24-CE86-4310-83AB-2BFC8187209E}" dt="2018-11-15T09:31:11.950" v="24251" actId="14100"/>
          <ac:graphicFrameMkLst>
            <pc:docMk/>
            <pc:sldMk cId="444720966" sldId="724"/>
            <ac:graphicFrameMk id="5" creationId="{C0D01526-8E5C-4448-B539-E460CD7AA796}"/>
          </ac:graphicFrameMkLst>
        </pc:graphicFrameChg>
      </pc:sldChg>
      <pc:sldChg chg="addSp delSp modSp add del ord modTransition">
        <pc:chgData name="Yakov Pakhomov" userId="857a8f7002735771" providerId="LiveId" clId="{77711C24-CE86-4310-83AB-2BFC8187209E}" dt="2018-11-15T09:54:46.611" v="24834"/>
        <pc:sldMkLst>
          <pc:docMk/>
          <pc:sldMk cId="2043801128" sldId="725"/>
        </pc:sldMkLst>
        <pc:spChg chg="mod ord">
          <ac:chgData name="Yakov Pakhomov" userId="857a8f7002735771" providerId="LiveId" clId="{77711C24-CE86-4310-83AB-2BFC8187209E}" dt="2018-11-15T09:54:46.611" v="24834"/>
          <ac:spMkLst>
            <pc:docMk/>
            <pc:sldMk cId="2043801128" sldId="725"/>
            <ac:spMk id="2" creationId="{75A40949-6845-4528-AD16-EE1EAA09DA69}"/>
          </ac:spMkLst>
        </pc:spChg>
        <pc:spChg chg="mod ord">
          <ac:chgData name="Yakov Pakhomov" userId="857a8f7002735771" providerId="LiveId" clId="{77711C24-CE86-4310-83AB-2BFC8187209E}" dt="2018-11-15T09:54:46.611" v="24834"/>
          <ac:spMkLst>
            <pc:docMk/>
            <pc:sldMk cId="2043801128" sldId="725"/>
            <ac:spMk id="4" creationId="{C2AF77FD-BE2B-4954-A24B-13B22C5BF045}"/>
          </ac:spMkLst>
        </pc:spChg>
        <pc:spChg chg="mod ord">
          <ac:chgData name="Yakov Pakhomov" userId="857a8f7002735771" providerId="LiveId" clId="{77711C24-CE86-4310-83AB-2BFC8187209E}" dt="2018-11-15T09:54:46.611" v="24834"/>
          <ac:spMkLst>
            <pc:docMk/>
            <pc:sldMk cId="2043801128" sldId="725"/>
            <ac:spMk id="6" creationId="{1AF4FB3A-57C4-4B0A-B0C2-949FCF632E43}"/>
          </ac:spMkLst>
        </pc:spChg>
        <pc:spChg chg="mod ord">
          <ac:chgData name="Yakov Pakhomov" userId="857a8f7002735771" providerId="LiveId" clId="{77711C24-CE86-4310-83AB-2BFC8187209E}" dt="2018-11-15T09:54:46.611" v="24834"/>
          <ac:spMkLst>
            <pc:docMk/>
            <pc:sldMk cId="2043801128" sldId="725"/>
            <ac:spMk id="8" creationId="{75BDCF36-6B32-4240-B5B0-45077A62042C}"/>
          </ac:spMkLst>
        </pc:spChg>
        <pc:spChg chg="add del mod ord">
          <ac:chgData name="Yakov Pakhomov" userId="857a8f7002735771" providerId="LiveId" clId="{77711C24-CE86-4310-83AB-2BFC8187209E}" dt="2018-11-15T09:54:46.611" v="24834"/>
          <ac:spMkLst>
            <pc:docMk/>
            <pc:sldMk cId="2043801128" sldId="725"/>
            <ac:spMk id="9" creationId="{DC17FF19-C206-4138-8C4D-338F7A63065F}"/>
          </ac:spMkLst>
        </pc:spChg>
        <pc:spChg chg="mod ord">
          <ac:chgData name="Yakov Pakhomov" userId="857a8f7002735771" providerId="LiveId" clId="{77711C24-CE86-4310-83AB-2BFC8187209E}" dt="2018-11-15T09:54:46.611" v="24834"/>
          <ac:spMkLst>
            <pc:docMk/>
            <pc:sldMk cId="2043801128" sldId="725"/>
            <ac:spMk id="11" creationId="{0AF798E6-2022-488F-AD59-BACBCDB19B4A}"/>
          </ac:spMkLst>
        </pc:spChg>
        <pc:spChg chg="mod ord">
          <ac:chgData name="Yakov Pakhomov" userId="857a8f7002735771" providerId="LiveId" clId="{77711C24-CE86-4310-83AB-2BFC8187209E}" dt="2018-11-15T09:54:46.611" v="24834"/>
          <ac:spMkLst>
            <pc:docMk/>
            <pc:sldMk cId="2043801128" sldId="725"/>
            <ac:spMk id="24" creationId="{E9A68B4F-EF79-47CF-8E1B-CEC53E914595}"/>
          </ac:spMkLst>
        </pc:spChg>
        <pc:graphicFrameChg chg="mod ord">
          <ac:chgData name="Yakov Pakhomov" userId="857a8f7002735771" providerId="LiveId" clId="{77711C24-CE86-4310-83AB-2BFC8187209E}" dt="2018-11-15T09:54:46.611" v="24834"/>
          <ac:graphicFrameMkLst>
            <pc:docMk/>
            <pc:sldMk cId="2043801128" sldId="725"/>
            <ac:graphicFrameMk id="5" creationId="{F65593A0-7B9E-41CD-8C39-B260645020DC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5T09:56:41.467" v="24868"/>
        <pc:sldMkLst>
          <pc:docMk/>
          <pc:sldMk cId="2779651644" sldId="725"/>
        </pc:sldMkLst>
        <pc:spChg chg="del">
          <ac:chgData name="Yakov Pakhomov" userId="857a8f7002735771" providerId="LiveId" clId="{77711C24-CE86-4310-83AB-2BFC8187209E}" dt="2018-11-15T09:55:26.949" v="24847"/>
          <ac:spMkLst>
            <pc:docMk/>
            <pc:sldMk cId="2779651644" sldId="725"/>
            <ac:spMk id="2" creationId="{94304FE5-268B-4169-B49A-EE747A65443F}"/>
          </ac:spMkLst>
        </pc:spChg>
        <pc:spChg chg="del">
          <ac:chgData name="Yakov Pakhomov" userId="857a8f7002735771" providerId="LiveId" clId="{77711C24-CE86-4310-83AB-2BFC8187209E}" dt="2018-11-15T09:55:26.949" v="24847"/>
          <ac:spMkLst>
            <pc:docMk/>
            <pc:sldMk cId="2779651644" sldId="725"/>
            <ac:spMk id="3" creationId="{A418F509-F959-4D71-8020-133A0C8EE35A}"/>
          </ac:spMkLst>
        </pc:spChg>
        <pc:spChg chg="add mod">
          <ac:chgData name="Yakov Pakhomov" userId="857a8f7002735771" providerId="LiveId" clId="{77711C24-CE86-4310-83AB-2BFC8187209E}" dt="2018-11-15T09:55:26.949" v="24847"/>
          <ac:spMkLst>
            <pc:docMk/>
            <pc:sldMk cId="2779651644" sldId="725"/>
            <ac:spMk id="5" creationId="{CCBBA616-EDF9-4BB5-BB97-79DC0D549039}"/>
          </ac:spMkLst>
        </pc:spChg>
        <pc:spChg chg="add mod">
          <ac:chgData name="Yakov Pakhomov" userId="857a8f7002735771" providerId="LiveId" clId="{77711C24-CE86-4310-83AB-2BFC8187209E}" dt="2018-11-15T09:55:26.949" v="24847"/>
          <ac:spMkLst>
            <pc:docMk/>
            <pc:sldMk cId="2779651644" sldId="725"/>
            <ac:spMk id="6" creationId="{201D302E-3217-44E6-8C01-6B9302D08536}"/>
          </ac:spMkLst>
        </pc:spChg>
        <pc:spChg chg="add del mod">
          <ac:chgData name="Yakov Pakhomov" userId="857a8f7002735771" providerId="LiveId" clId="{77711C24-CE86-4310-83AB-2BFC8187209E}" dt="2018-11-15T09:56:21.004" v="24867" actId="478"/>
          <ac:spMkLst>
            <pc:docMk/>
            <pc:sldMk cId="2779651644" sldId="725"/>
            <ac:spMk id="7" creationId="{07F9BA12-06C1-46D9-AEBE-105DEF633D69}"/>
          </ac:spMkLst>
        </pc:spChg>
        <pc:spChg chg="add mod">
          <ac:chgData name="Yakov Pakhomov" userId="857a8f7002735771" providerId="LiveId" clId="{77711C24-CE86-4310-83AB-2BFC8187209E}" dt="2018-11-15T09:55:57.497" v="24864" actId="571"/>
          <ac:spMkLst>
            <pc:docMk/>
            <pc:sldMk cId="2779651644" sldId="725"/>
            <ac:spMk id="9" creationId="{9C0F003B-4F83-4463-AE83-C93F5F72AEAD}"/>
          </ac:spMkLst>
        </pc:spChg>
        <pc:spChg chg="add mod">
          <ac:chgData name="Yakov Pakhomov" userId="857a8f7002735771" providerId="LiveId" clId="{77711C24-CE86-4310-83AB-2BFC8187209E}" dt="2018-11-15T09:56:04.365" v="24865" actId="571"/>
          <ac:spMkLst>
            <pc:docMk/>
            <pc:sldMk cId="2779651644" sldId="725"/>
            <ac:spMk id="10" creationId="{0F5EACFA-F566-4691-8F53-6F42C86ED204}"/>
          </ac:spMkLst>
        </pc:spChg>
        <pc:spChg chg="add mod">
          <ac:chgData name="Yakov Pakhomov" userId="857a8f7002735771" providerId="LiveId" clId="{77711C24-CE86-4310-83AB-2BFC8187209E}" dt="2018-11-15T09:56:08.178" v="24866"/>
          <ac:spMkLst>
            <pc:docMk/>
            <pc:sldMk cId="2779651644" sldId="725"/>
            <ac:spMk id="11" creationId="{9A5FB8D9-ACA9-4E1B-BF17-1C35B224129E}"/>
          </ac:spMkLst>
        </pc:spChg>
        <pc:spChg chg="add mod">
          <ac:chgData name="Yakov Pakhomov" userId="857a8f7002735771" providerId="LiveId" clId="{77711C24-CE86-4310-83AB-2BFC8187209E}" dt="2018-11-15T09:56:08.178" v="24866"/>
          <ac:spMkLst>
            <pc:docMk/>
            <pc:sldMk cId="2779651644" sldId="725"/>
            <ac:spMk id="12" creationId="{4F19D107-E6B2-465F-A3E1-110FD291D842}"/>
          </ac:spMkLst>
        </pc:spChg>
        <pc:spChg chg="add">
          <ac:chgData name="Yakov Pakhomov" userId="857a8f7002735771" providerId="LiveId" clId="{77711C24-CE86-4310-83AB-2BFC8187209E}" dt="2018-11-15T09:56:41.467" v="24868"/>
          <ac:spMkLst>
            <pc:docMk/>
            <pc:sldMk cId="2779651644" sldId="725"/>
            <ac:spMk id="13" creationId="{D4BC86D6-FC00-4A7E-AE0A-211B212BFF43}"/>
          </ac:spMkLst>
        </pc:spChg>
        <pc:graphicFrameChg chg="add mod">
          <ac:chgData name="Yakov Pakhomov" userId="857a8f7002735771" providerId="LiveId" clId="{77711C24-CE86-4310-83AB-2BFC8187209E}" dt="2018-11-15T09:55:38.598" v="24863" actId="14100"/>
          <ac:graphicFrameMkLst>
            <pc:docMk/>
            <pc:sldMk cId="2779651644" sldId="725"/>
            <ac:graphicFrameMk id="4" creationId="{6EC01A5C-21E3-4FD3-9964-2CEB06BE7D81}"/>
          </ac:graphicFrameMkLst>
        </pc:graphicFrameChg>
        <pc:graphicFrameChg chg="add mod ord">
          <ac:chgData name="Yakov Pakhomov" userId="857a8f7002735771" providerId="LiveId" clId="{77711C24-CE86-4310-83AB-2BFC8187209E}" dt="2018-11-15T09:55:27.481" v="24861"/>
          <ac:graphicFrameMkLst>
            <pc:docMk/>
            <pc:sldMk cId="2779651644" sldId="725"/>
            <ac:graphicFrameMk id="8" creationId="{2BF2B961-332B-402D-8661-EDE9D3675424}"/>
          </ac:graphicFrameMkLst>
        </pc:graphicFrameChg>
      </pc:sldChg>
      <pc:sldChg chg="addSp delSp modSp add ord">
        <pc:chgData name="Yakov Pakhomov" userId="857a8f7002735771" providerId="LiveId" clId="{77711C24-CE86-4310-83AB-2BFC8187209E}" dt="2018-11-15T13:29:41.424" v="26853"/>
        <pc:sldMkLst>
          <pc:docMk/>
          <pc:sldMk cId="206762511" sldId="726"/>
        </pc:sldMkLst>
        <pc:spChg chg="del">
          <ac:chgData name="Yakov Pakhomov" userId="857a8f7002735771" providerId="LiveId" clId="{77711C24-CE86-4310-83AB-2BFC8187209E}" dt="2018-11-15T09:57:57.530" v="24870"/>
          <ac:spMkLst>
            <pc:docMk/>
            <pc:sldMk cId="206762511" sldId="726"/>
            <ac:spMk id="2" creationId="{2F87EDB3-92D7-49D9-B519-0BF87C4115CB}"/>
          </ac:spMkLst>
        </pc:spChg>
        <pc:spChg chg="add del mod">
          <ac:chgData name="Yakov Pakhomov" userId="857a8f7002735771" providerId="LiveId" clId="{77711C24-CE86-4310-83AB-2BFC8187209E}" dt="2018-11-15T09:58:00.124" v="24885" actId="478"/>
          <ac:spMkLst>
            <pc:docMk/>
            <pc:sldMk cId="206762511" sldId="726"/>
            <ac:spMk id="3" creationId="{19B31475-FAA3-4A02-99EF-827F7FF0327C}"/>
          </ac:spMkLst>
        </pc:spChg>
        <pc:spChg chg="add del mod">
          <ac:chgData name="Yakov Pakhomov" userId="857a8f7002735771" providerId="LiveId" clId="{77711C24-CE86-4310-83AB-2BFC8187209E}" dt="2018-11-15T09:58:01.932" v="24886" actId="478"/>
          <ac:spMkLst>
            <pc:docMk/>
            <pc:sldMk cId="206762511" sldId="726"/>
            <ac:spMk id="4" creationId="{3FC2D629-0DEB-4639-9E73-CEC3A1509CA4}"/>
          </ac:spMkLst>
        </pc:spChg>
        <pc:spChg chg="add mod">
          <ac:chgData name="Yakov Pakhomov" userId="857a8f7002735771" providerId="LiveId" clId="{77711C24-CE86-4310-83AB-2BFC8187209E}" dt="2018-11-15T09:58:10.508" v="24898" actId="20577"/>
          <ac:spMkLst>
            <pc:docMk/>
            <pc:sldMk cId="206762511" sldId="726"/>
            <ac:spMk id="5" creationId="{087CF18E-5D76-4A5D-8D89-6E8A01B734C7}"/>
          </ac:spMkLst>
        </pc:spChg>
        <pc:graphicFrameChg chg="add mod ord">
          <ac:chgData name="Yakov Pakhomov" userId="857a8f7002735771" providerId="LiveId" clId="{77711C24-CE86-4310-83AB-2BFC8187209E}" dt="2018-11-15T09:57:58.074" v="24884"/>
          <ac:graphicFrameMkLst>
            <pc:docMk/>
            <pc:sldMk cId="206762511" sldId="726"/>
            <ac:graphicFrameMk id="6" creationId="{44F701F9-2131-4189-B638-0D6851B5D79F}"/>
          </ac:graphicFrameMkLst>
        </pc:graphicFrameChg>
        <pc:graphicFrameChg chg="add mod">
          <ac:chgData name="Yakov Pakhomov" userId="857a8f7002735771" providerId="LiveId" clId="{77711C24-CE86-4310-83AB-2BFC8187209E}" dt="2018-11-15T10:04:14.233" v="24901" actId="14100"/>
          <ac:graphicFrameMkLst>
            <pc:docMk/>
            <pc:sldMk cId="206762511" sldId="726"/>
            <ac:graphicFrameMk id="7" creationId="{51D738B9-22DE-49C0-890D-316F78105D7C}"/>
          </ac:graphicFrameMkLst>
        </pc:graphicFrameChg>
      </pc:sldChg>
      <pc:sldChg chg="addSp modSp add">
        <pc:chgData name="Yakov Pakhomov" userId="857a8f7002735771" providerId="LiveId" clId="{77711C24-CE86-4310-83AB-2BFC8187209E}" dt="2018-11-15T10:35:55.865" v="25060" actId="1076"/>
        <pc:sldMkLst>
          <pc:docMk/>
          <pc:sldMk cId="376131363" sldId="727"/>
        </pc:sldMkLst>
        <pc:spChg chg="mod">
          <ac:chgData name="Yakov Pakhomov" userId="857a8f7002735771" providerId="LiveId" clId="{77711C24-CE86-4310-83AB-2BFC8187209E}" dt="2018-11-15T10:35:37.614" v="25052" actId="27636"/>
          <ac:spMkLst>
            <pc:docMk/>
            <pc:sldMk cId="376131363" sldId="727"/>
            <ac:spMk id="2" creationId="{B493A8F1-F73D-4076-B5AC-18E111EABA8C}"/>
          </ac:spMkLst>
        </pc:spChg>
        <pc:spChg chg="add mod">
          <ac:chgData name="Yakov Pakhomov" userId="857a8f7002735771" providerId="LiveId" clId="{77711C24-CE86-4310-83AB-2BFC8187209E}" dt="2018-11-15T10:35:34.327" v="25034"/>
          <ac:spMkLst>
            <pc:docMk/>
            <pc:sldMk cId="376131363" sldId="727"/>
            <ac:spMk id="4" creationId="{81DF19E4-1FCC-43B2-AFC7-ED54A7B05F06}"/>
          </ac:spMkLst>
        </pc:spChg>
        <pc:spChg chg="add mod">
          <ac:chgData name="Yakov Pakhomov" userId="857a8f7002735771" providerId="LiveId" clId="{77711C24-CE86-4310-83AB-2BFC8187209E}" dt="2018-11-15T10:35:55.865" v="25060" actId="1076"/>
          <ac:spMkLst>
            <pc:docMk/>
            <pc:sldMk cId="376131363" sldId="727"/>
            <ac:spMk id="5" creationId="{EBED7527-C4E1-467A-ADA1-EB2B4059AFDB}"/>
          </ac:spMkLst>
        </pc:spChg>
        <pc:graphicFrameChg chg="add mod ord">
          <ac:chgData name="Yakov Pakhomov" userId="857a8f7002735771" providerId="LiveId" clId="{77711C24-CE86-4310-83AB-2BFC8187209E}" dt="2018-11-15T10:35:38.123" v="25054"/>
          <ac:graphicFrameMkLst>
            <pc:docMk/>
            <pc:sldMk cId="376131363" sldId="727"/>
            <ac:graphicFrameMk id="6" creationId="{66CF7A3E-43B0-4244-BC63-2FB1BDA25B98}"/>
          </ac:graphicFrameMkLst>
        </pc:graphicFrameChg>
        <pc:picChg chg="add mod">
          <ac:chgData name="Yakov Pakhomov" userId="857a8f7002735771" providerId="LiveId" clId="{77711C24-CE86-4310-83AB-2BFC8187209E}" dt="2018-11-15T10:35:49.944" v="25057" actId="14100"/>
          <ac:picMkLst>
            <pc:docMk/>
            <pc:sldMk cId="376131363" sldId="727"/>
            <ac:picMk id="3" creationId="{496FDB73-62EA-4F06-A6B1-70BD2EC82A22}"/>
          </ac:picMkLst>
        </pc:picChg>
      </pc:sldChg>
      <pc:sldChg chg="addSp delSp modSp add">
        <pc:chgData name="Yakov Pakhomov" userId="857a8f7002735771" providerId="LiveId" clId="{77711C24-CE86-4310-83AB-2BFC8187209E}" dt="2018-11-15T10:36:43.520" v="25065" actId="14100"/>
        <pc:sldMkLst>
          <pc:docMk/>
          <pc:sldMk cId="1719957019" sldId="728"/>
        </pc:sldMkLst>
        <pc:picChg chg="del">
          <ac:chgData name="Yakov Pakhomov" userId="857a8f7002735771" providerId="LiveId" clId="{77711C24-CE86-4310-83AB-2BFC8187209E}" dt="2018-11-15T10:36:37.332" v="25062" actId="478"/>
          <ac:picMkLst>
            <pc:docMk/>
            <pc:sldMk cId="1719957019" sldId="728"/>
            <ac:picMk id="3" creationId="{496FDB73-62EA-4F06-A6B1-70BD2EC82A22}"/>
          </ac:picMkLst>
        </pc:picChg>
        <pc:picChg chg="add mod">
          <ac:chgData name="Yakov Pakhomov" userId="857a8f7002735771" providerId="LiveId" clId="{77711C24-CE86-4310-83AB-2BFC8187209E}" dt="2018-11-15T10:36:43.520" v="25065" actId="14100"/>
          <ac:picMkLst>
            <pc:docMk/>
            <pc:sldMk cId="1719957019" sldId="728"/>
            <ac:picMk id="7" creationId="{493E8F71-1D34-4D1C-A8AF-D8259E362EBD}"/>
          </ac:picMkLst>
        </pc:picChg>
      </pc:sldChg>
      <pc:sldChg chg="addSp delSp modSp add">
        <pc:chgData name="Yakov Pakhomov" userId="857a8f7002735771" providerId="LiveId" clId="{77711C24-CE86-4310-83AB-2BFC8187209E}" dt="2018-11-15T10:37:16.747" v="25070" actId="14100"/>
        <pc:sldMkLst>
          <pc:docMk/>
          <pc:sldMk cId="1702438586" sldId="729"/>
        </pc:sldMkLst>
        <pc:picChg chg="add mod">
          <ac:chgData name="Yakov Pakhomov" userId="857a8f7002735771" providerId="LiveId" clId="{77711C24-CE86-4310-83AB-2BFC8187209E}" dt="2018-11-15T10:37:16.747" v="25070" actId="14100"/>
          <ac:picMkLst>
            <pc:docMk/>
            <pc:sldMk cId="1702438586" sldId="729"/>
            <ac:picMk id="3" creationId="{F59B79BF-20DB-4DF4-855B-095EEFE87EEE}"/>
          </ac:picMkLst>
        </pc:picChg>
        <pc:picChg chg="del">
          <ac:chgData name="Yakov Pakhomov" userId="857a8f7002735771" providerId="LiveId" clId="{77711C24-CE86-4310-83AB-2BFC8187209E}" dt="2018-11-15T10:37:10.549" v="25067" actId="478"/>
          <ac:picMkLst>
            <pc:docMk/>
            <pc:sldMk cId="1702438586" sldId="729"/>
            <ac:picMk id="7" creationId="{493E8F71-1D34-4D1C-A8AF-D8259E362EBD}"/>
          </ac:picMkLst>
        </pc:picChg>
      </pc:sldChg>
      <pc:sldChg chg="addSp delSp modSp add del">
        <pc:chgData name="Yakov Pakhomov" userId="857a8f7002735771" providerId="LiveId" clId="{77711C24-CE86-4310-83AB-2BFC8187209E}" dt="2018-11-15T11:08:31.542" v="25634" actId="2696"/>
        <pc:sldMkLst>
          <pc:docMk/>
          <pc:sldMk cId="3307385035" sldId="730"/>
        </pc:sldMkLst>
        <pc:spChg chg="mod ord">
          <ac:chgData name="Yakov Pakhomov" userId="857a8f7002735771" providerId="LiveId" clId="{77711C24-CE86-4310-83AB-2BFC8187209E}" dt="2018-11-15T10:39:03.115" v="25198" actId="20577"/>
          <ac:spMkLst>
            <pc:docMk/>
            <pc:sldMk cId="3307385035" sldId="730"/>
            <ac:spMk id="2" creationId="{416566AC-9207-40CF-A5C1-637279D238D1}"/>
          </ac:spMkLst>
        </pc:spChg>
        <pc:spChg chg="add mod ord">
          <ac:chgData name="Yakov Pakhomov" userId="857a8f7002735771" providerId="LiveId" clId="{77711C24-CE86-4310-83AB-2BFC8187209E}" dt="2018-11-15T10:38:55.011" v="25152"/>
          <ac:spMkLst>
            <pc:docMk/>
            <pc:sldMk cId="3307385035" sldId="730"/>
            <ac:spMk id="5" creationId="{4C7252A4-6C75-4552-B50E-670A5FC6DD4B}"/>
          </ac:spMkLst>
        </pc:spChg>
        <pc:spChg chg="add mod">
          <ac:chgData name="Yakov Pakhomov" userId="857a8f7002735771" providerId="LiveId" clId="{77711C24-CE86-4310-83AB-2BFC8187209E}" dt="2018-11-15T11:06:13.495" v="25527" actId="122"/>
          <ac:spMkLst>
            <pc:docMk/>
            <pc:sldMk cId="3307385035" sldId="730"/>
            <ac:spMk id="6" creationId="{B8E6ED70-C2D8-4EE4-9551-64019183A27A}"/>
          </ac:spMkLst>
        </pc:spChg>
        <pc:spChg chg="add mod">
          <ac:chgData name="Yakov Pakhomov" userId="857a8f7002735771" providerId="LiveId" clId="{77711C24-CE86-4310-83AB-2BFC8187209E}" dt="2018-11-15T11:05:12.862" v="25514" actId="1076"/>
          <ac:spMkLst>
            <pc:docMk/>
            <pc:sldMk cId="3307385035" sldId="730"/>
            <ac:spMk id="7" creationId="{922B2874-E3AD-4BF9-893E-451D9DEB413E}"/>
          </ac:spMkLst>
        </pc:spChg>
        <pc:spChg chg="add mod">
          <ac:chgData name="Yakov Pakhomov" userId="857a8f7002735771" providerId="LiveId" clId="{77711C24-CE86-4310-83AB-2BFC8187209E}" dt="2018-11-15T11:05:11.044" v="25513" actId="1076"/>
          <ac:spMkLst>
            <pc:docMk/>
            <pc:sldMk cId="3307385035" sldId="730"/>
            <ac:spMk id="8" creationId="{848F39EC-BE03-4DF7-ACE9-825B0C7B6060}"/>
          </ac:spMkLst>
        </pc:spChg>
        <pc:spChg chg="add mod">
          <ac:chgData name="Yakov Pakhomov" userId="857a8f7002735771" providerId="LiveId" clId="{77711C24-CE86-4310-83AB-2BFC8187209E}" dt="2018-11-15T11:05:30.761" v="25519" actId="1076"/>
          <ac:spMkLst>
            <pc:docMk/>
            <pc:sldMk cId="3307385035" sldId="730"/>
            <ac:spMk id="9" creationId="{5E16ECD7-0B88-4B4F-BAC7-CA22B5219EFE}"/>
          </ac:spMkLst>
        </pc:spChg>
        <pc:spChg chg="add mod">
          <ac:chgData name="Yakov Pakhomov" userId="857a8f7002735771" providerId="LiveId" clId="{77711C24-CE86-4310-83AB-2BFC8187209E}" dt="2018-11-15T11:05:16.449" v="25515" actId="1076"/>
          <ac:spMkLst>
            <pc:docMk/>
            <pc:sldMk cId="3307385035" sldId="730"/>
            <ac:spMk id="10" creationId="{B61A4601-973B-4FFB-925E-2AD3FB78BDAA}"/>
          </ac:spMkLst>
        </pc:spChg>
        <pc:spChg chg="add mod">
          <ac:chgData name="Yakov Pakhomov" userId="857a8f7002735771" providerId="LiveId" clId="{77711C24-CE86-4310-83AB-2BFC8187209E}" dt="2018-11-15T11:05:34.923" v="25520" actId="1076"/>
          <ac:spMkLst>
            <pc:docMk/>
            <pc:sldMk cId="3307385035" sldId="730"/>
            <ac:spMk id="11" creationId="{2F6D9876-09B8-4379-9B1C-32C971EC6CDC}"/>
          </ac:spMkLst>
        </pc:spChg>
        <pc:spChg chg="add mod">
          <ac:chgData name="Yakov Pakhomov" userId="857a8f7002735771" providerId="LiveId" clId="{77711C24-CE86-4310-83AB-2BFC8187209E}" dt="2018-11-15T11:05:27.884" v="25518" actId="1076"/>
          <ac:spMkLst>
            <pc:docMk/>
            <pc:sldMk cId="3307385035" sldId="730"/>
            <ac:spMk id="12" creationId="{D0A21930-F127-4E8E-8753-6A383F63E6BC}"/>
          </ac:spMkLst>
        </pc:spChg>
        <pc:spChg chg="add mod">
          <ac:chgData name="Yakov Pakhomov" userId="857a8f7002735771" providerId="LiveId" clId="{77711C24-CE86-4310-83AB-2BFC8187209E}" dt="2018-11-15T11:07:32.493" v="25625" actId="113"/>
          <ac:spMkLst>
            <pc:docMk/>
            <pc:sldMk cId="3307385035" sldId="730"/>
            <ac:spMk id="20" creationId="{09D8DB8D-5602-4CAE-A431-94827034D4C1}"/>
          </ac:spMkLst>
        </pc:spChg>
        <pc:graphicFrameChg chg="add mod ord">
          <ac:chgData name="Yakov Pakhomov" userId="857a8f7002735771" providerId="LiveId" clId="{77711C24-CE86-4310-83AB-2BFC8187209E}" dt="2018-11-15T10:39:03.625" v="25200"/>
          <ac:graphicFrameMkLst>
            <pc:docMk/>
            <pc:sldMk cId="3307385035" sldId="730"/>
            <ac:graphicFrameMk id="4" creationId="{593B2BED-3B8A-4A99-977C-49BA88A7388A}"/>
          </ac:graphicFrameMkLst>
        </pc:graphicFrameChg>
        <pc:picChg chg="add del mod ord modCrop">
          <ac:chgData name="Yakov Pakhomov" userId="857a8f7002735771" providerId="LiveId" clId="{77711C24-CE86-4310-83AB-2BFC8187209E}" dt="2018-11-15T11:07:36.153" v="25626" actId="478"/>
          <ac:picMkLst>
            <pc:docMk/>
            <pc:sldMk cId="3307385035" sldId="730"/>
            <ac:picMk id="3" creationId="{1D8400AD-4D7A-4A5B-B59B-F12648DA7CD3}"/>
          </ac:picMkLst>
        </pc:picChg>
        <pc:picChg chg="add del">
          <ac:chgData name="Yakov Pakhomov" userId="857a8f7002735771" providerId="LiveId" clId="{77711C24-CE86-4310-83AB-2BFC8187209E}" dt="2018-11-15T11:08:26.873" v="25633" actId="478"/>
          <ac:picMkLst>
            <pc:docMk/>
            <pc:sldMk cId="3307385035" sldId="730"/>
            <ac:picMk id="22" creationId="{8FA17991-C76D-46F1-BC97-789F30F9F3FC}"/>
          </ac:picMkLst>
        </pc:picChg>
        <pc:cxnChg chg="add mod">
          <ac:chgData name="Yakov Pakhomov" userId="857a8f7002735771" providerId="LiveId" clId="{77711C24-CE86-4310-83AB-2BFC8187209E}" dt="2018-11-15T11:05:47.017" v="25521" actId="11529"/>
          <ac:cxnSpMkLst>
            <pc:docMk/>
            <pc:sldMk cId="3307385035" sldId="730"/>
            <ac:cxnSpMk id="14" creationId="{B2D0780F-68EE-4DF8-9327-B9E58DBDCBC2}"/>
          </ac:cxnSpMkLst>
        </pc:cxnChg>
        <pc:cxnChg chg="add mod">
          <ac:chgData name="Yakov Pakhomov" userId="857a8f7002735771" providerId="LiveId" clId="{77711C24-CE86-4310-83AB-2BFC8187209E}" dt="2018-11-15T11:05:53.731" v="25523" actId="1076"/>
          <ac:cxnSpMkLst>
            <pc:docMk/>
            <pc:sldMk cId="3307385035" sldId="730"/>
            <ac:cxnSpMk id="16" creationId="{E79255B0-6A12-420F-B747-0297EFDE4B3F}"/>
          </ac:cxnSpMkLst>
        </pc:cxnChg>
        <pc:cxnChg chg="add mod">
          <ac:chgData name="Yakov Pakhomov" userId="857a8f7002735771" providerId="LiveId" clId="{77711C24-CE86-4310-83AB-2BFC8187209E}" dt="2018-11-15T11:05:58.051" v="25525" actId="1076"/>
          <ac:cxnSpMkLst>
            <pc:docMk/>
            <pc:sldMk cId="3307385035" sldId="730"/>
            <ac:cxnSpMk id="17" creationId="{D0F02A0C-F1CB-40E1-9541-1CC45628C6F1}"/>
          </ac:cxnSpMkLst>
        </pc:cxnChg>
        <pc:cxnChg chg="add mod">
          <ac:chgData name="Yakov Pakhomov" userId="857a8f7002735771" providerId="LiveId" clId="{77711C24-CE86-4310-83AB-2BFC8187209E}" dt="2018-11-15T11:06:03.617" v="25526" actId="11529"/>
          <ac:cxnSpMkLst>
            <pc:docMk/>
            <pc:sldMk cId="3307385035" sldId="730"/>
            <ac:cxnSpMk id="19" creationId="{7AB9A68A-B7B4-49AF-9690-7D4004BE118B}"/>
          </ac:cxnSpMkLst>
        </pc:cxnChg>
        <pc:cxnChg chg="add del">
          <ac:chgData name="Yakov Pakhomov" userId="857a8f7002735771" providerId="LiveId" clId="{77711C24-CE86-4310-83AB-2BFC8187209E}" dt="2018-11-15T11:08:19.355" v="25631"/>
          <ac:cxnSpMkLst>
            <pc:docMk/>
            <pc:sldMk cId="3307385035" sldId="730"/>
            <ac:cxnSpMk id="21" creationId="{21792B31-2B3D-4B5C-A700-6C4FF1143828}"/>
          </ac:cxnSpMkLst>
        </pc:cxnChg>
      </pc:sldChg>
      <pc:sldChg chg="addSp delSp modSp add">
        <pc:chgData name="Yakov Pakhomov" userId="857a8f7002735771" providerId="LiveId" clId="{77711C24-CE86-4310-83AB-2BFC8187209E}" dt="2018-11-15T13:28:09.093" v="26817" actId="478"/>
        <pc:sldMkLst>
          <pc:docMk/>
          <pc:sldMk cId="940108687" sldId="731"/>
        </pc:sldMkLst>
        <pc:spChg chg="add mod">
          <ac:chgData name="Yakov Pakhomov" userId="857a8f7002735771" providerId="LiveId" clId="{77711C24-CE86-4310-83AB-2BFC8187209E}" dt="2018-11-15T13:24:56.136" v="26810" actId="1076"/>
          <ac:spMkLst>
            <pc:docMk/>
            <pc:sldMk cId="940108687" sldId="731"/>
            <ac:spMk id="3" creationId="{BE0B96F7-904B-4B60-AF36-4188BB8241BF}"/>
          </ac:spMkLst>
        </pc:spChg>
        <pc:spChg chg="mod">
          <ac:chgData name="Yakov Pakhomov" userId="857a8f7002735771" providerId="LiveId" clId="{77711C24-CE86-4310-83AB-2BFC8187209E}" dt="2018-11-15T13:24:18.365" v="26802" actId="14100"/>
          <ac:spMkLst>
            <pc:docMk/>
            <pc:sldMk cId="940108687" sldId="731"/>
            <ac:spMk id="6" creationId="{B8E6ED70-C2D8-4EE4-9551-64019183A27A}"/>
          </ac:spMkLst>
        </pc:spChg>
        <pc:spChg chg="mod">
          <ac:chgData name="Yakov Pakhomov" userId="857a8f7002735771" providerId="LiveId" clId="{77711C24-CE86-4310-83AB-2BFC8187209E}" dt="2018-11-15T13:23:51.466" v="26795" actId="1076"/>
          <ac:spMkLst>
            <pc:docMk/>
            <pc:sldMk cId="940108687" sldId="731"/>
            <ac:spMk id="7" creationId="{922B2874-E3AD-4BF9-893E-451D9DEB413E}"/>
          </ac:spMkLst>
        </pc:spChg>
        <pc:spChg chg="mod">
          <ac:chgData name="Yakov Pakhomov" userId="857a8f7002735771" providerId="LiveId" clId="{77711C24-CE86-4310-83AB-2BFC8187209E}" dt="2018-11-15T13:25:02.512" v="26811" actId="1076"/>
          <ac:spMkLst>
            <pc:docMk/>
            <pc:sldMk cId="940108687" sldId="731"/>
            <ac:spMk id="8" creationId="{848F39EC-BE03-4DF7-ACE9-825B0C7B6060}"/>
          </ac:spMkLst>
        </pc:spChg>
        <pc:spChg chg="mod">
          <ac:chgData name="Yakov Pakhomov" userId="857a8f7002735771" providerId="LiveId" clId="{77711C24-CE86-4310-83AB-2BFC8187209E}" dt="2018-11-15T13:24:05.625" v="26799" actId="1076"/>
          <ac:spMkLst>
            <pc:docMk/>
            <pc:sldMk cId="940108687" sldId="731"/>
            <ac:spMk id="9" creationId="{5E16ECD7-0B88-4B4F-BAC7-CA22B5219EFE}"/>
          </ac:spMkLst>
        </pc:spChg>
        <pc:spChg chg="mod">
          <ac:chgData name="Yakov Pakhomov" userId="857a8f7002735771" providerId="LiveId" clId="{77711C24-CE86-4310-83AB-2BFC8187209E}" dt="2018-11-15T13:23:54.528" v="26796" actId="1076"/>
          <ac:spMkLst>
            <pc:docMk/>
            <pc:sldMk cId="940108687" sldId="731"/>
            <ac:spMk id="10" creationId="{B61A4601-973B-4FFB-925E-2AD3FB78BDAA}"/>
          </ac:spMkLst>
        </pc:spChg>
        <pc:spChg chg="mod">
          <ac:chgData name="Yakov Pakhomov" userId="857a8f7002735771" providerId="LiveId" clId="{77711C24-CE86-4310-83AB-2BFC8187209E}" dt="2018-11-15T13:24:02.098" v="26798" actId="1076"/>
          <ac:spMkLst>
            <pc:docMk/>
            <pc:sldMk cId="940108687" sldId="731"/>
            <ac:spMk id="11" creationId="{2F6D9876-09B8-4379-9B1C-32C971EC6CDC}"/>
          </ac:spMkLst>
        </pc:spChg>
        <pc:spChg chg="mod">
          <ac:chgData name="Yakov Pakhomov" userId="857a8f7002735771" providerId="LiveId" clId="{77711C24-CE86-4310-83AB-2BFC8187209E}" dt="2018-11-15T13:23:57.341" v="26797" actId="1076"/>
          <ac:spMkLst>
            <pc:docMk/>
            <pc:sldMk cId="940108687" sldId="731"/>
            <ac:spMk id="12" creationId="{D0A21930-F127-4E8E-8753-6A383F63E6BC}"/>
          </ac:spMkLst>
        </pc:spChg>
        <pc:picChg chg="add del">
          <ac:chgData name="Yakov Pakhomov" userId="857a8f7002735771" providerId="LiveId" clId="{77711C24-CE86-4310-83AB-2BFC8187209E}" dt="2018-11-15T13:23:39.678" v="26794" actId="478"/>
          <ac:picMkLst>
            <pc:docMk/>
            <pc:sldMk cId="940108687" sldId="731"/>
            <ac:picMk id="13" creationId="{03557E61-898E-44B7-90CE-3903EBE057F9}"/>
          </ac:picMkLst>
        </pc:picChg>
        <pc:picChg chg="add del">
          <ac:chgData name="Yakov Pakhomov" userId="857a8f7002735771" providerId="LiveId" clId="{77711C24-CE86-4310-83AB-2BFC8187209E}" dt="2018-11-15T13:25:38.636" v="26813" actId="478"/>
          <ac:picMkLst>
            <pc:docMk/>
            <pc:sldMk cId="940108687" sldId="731"/>
            <ac:picMk id="28" creationId="{BCC7A11E-BD1D-40F3-A559-DF9F0975983D}"/>
          </ac:picMkLst>
        </pc:picChg>
        <pc:picChg chg="add del">
          <ac:chgData name="Yakov Pakhomov" userId="857a8f7002735771" providerId="LiveId" clId="{77711C24-CE86-4310-83AB-2BFC8187209E}" dt="2018-11-15T13:26:16.280" v="26815"/>
          <ac:picMkLst>
            <pc:docMk/>
            <pc:sldMk cId="940108687" sldId="731"/>
            <ac:picMk id="29" creationId="{5DF30B18-16E3-4778-B08A-6C0D98BA7762}"/>
          </ac:picMkLst>
        </pc:picChg>
        <pc:picChg chg="add del">
          <ac:chgData name="Yakov Pakhomov" userId="857a8f7002735771" providerId="LiveId" clId="{77711C24-CE86-4310-83AB-2BFC8187209E}" dt="2018-11-15T13:28:09.093" v="26817" actId="478"/>
          <ac:picMkLst>
            <pc:docMk/>
            <pc:sldMk cId="940108687" sldId="731"/>
            <ac:picMk id="30" creationId="{4BFD0EA9-D417-4FA1-9924-749A1F5F132E}"/>
          </ac:picMkLst>
        </pc:picChg>
        <pc:cxnChg chg="mod">
          <ac:chgData name="Yakov Pakhomov" userId="857a8f7002735771" providerId="LiveId" clId="{77711C24-CE86-4310-83AB-2BFC8187209E}" dt="2018-11-15T13:25:02.512" v="26811" actId="1076"/>
          <ac:cxnSpMkLst>
            <pc:docMk/>
            <pc:sldMk cId="940108687" sldId="731"/>
            <ac:cxnSpMk id="14" creationId="{B2D0780F-68EE-4DF8-9327-B9E58DBDCBC2}"/>
          </ac:cxnSpMkLst>
        </pc:cxnChg>
        <pc:cxnChg chg="mod">
          <ac:chgData name="Yakov Pakhomov" userId="857a8f7002735771" providerId="LiveId" clId="{77711C24-CE86-4310-83AB-2BFC8187209E}" dt="2018-11-15T13:24:37.070" v="26806" actId="1076"/>
          <ac:cxnSpMkLst>
            <pc:docMk/>
            <pc:sldMk cId="940108687" sldId="731"/>
            <ac:cxnSpMk id="16" creationId="{E79255B0-6A12-420F-B747-0297EFDE4B3F}"/>
          </ac:cxnSpMkLst>
        </pc:cxnChg>
        <pc:cxnChg chg="mod">
          <ac:chgData name="Yakov Pakhomov" userId="857a8f7002735771" providerId="LiveId" clId="{77711C24-CE86-4310-83AB-2BFC8187209E}" dt="2018-11-15T13:24:48.140" v="26809" actId="1076"/>
          <ac:cxnSpMkLst>
            <pc:docMk/>
            <pc:sldMk cId="940108687" sldId="731"/>
            <ac:cxnSpMk id="17" creationId="{D0F02A0C-F1CB-40E1-9541-1CC45628C6F1}"/>
          </ac:cxnSpMkLst>
        </pc:cxnChg>
        <pc:cxnChg chg="add del">
          <ac:chgData name="Yakov Pakhomov" userId="857a8f7002735771" providerId="LiveId" clId="{77711C24-CE86-4310-83AB-2BFC8187209E}" dt="2018-11-15T11:07:45.444" v="25629"/>
          <ac:cxnSpMkLst>
            <pc:docMk/>
            <pc:sldMk cId="940108687" sldId="731"/>
            <ac:cxnSpMk id="18" creationId="{2F58F8E2-523F-4C53-B92E-3FD4DC3971E5}"/>
          </ac:cxnSpMkLst>
        </pc:cxnChg>
        <pc:cxnChg chg="mod">
          <ac:chgData name="Yakov Pakhomov" userId="857a8f7002735771" providerId="LiveId" clId="{77711C24-CE86-4310-83AB-2BFC8187209E}" dt="2018-11-15T13:24:42.050" v="26808" actId="14100"/>
          <ac:cxnSpMkLst>
            <pc:docMk/>
            <pc:sldMk cId="940108687" sldId="731"/>
            <ac:cxnSpMk id="19" creationId="{7AB9A68A-B7B4-49AF-9690-7D4004BE118B}"/>
          </ac:cxnSpMkLst>
        </pc:cxnChg>
      </pc:sldChg>
      <pc:sldChg chg="addSp delSp modSp add">
        <pc:chgData name="Yakov Pakhomov" userId="857a8f7002735771" providerId="LiveId" clId="{77711C24-CE86-4310-83AB-2BFC8187209E}" dt="2018-11-15T16:07:32.623" v="28134" actId="478"/>
        <pc:sldMkLst>
          <pc:docMk/>
          <pc:sldMk cId="3470669122" sldId="732"/>
        </pc:sldMkLst>
        <pc:spChg chg="del">
          <ac:chgData name="Yakov Pakhomov" userId="857a8f7002735771" providerId="LiveId" clId="{77711C24-CE86-4310-83AB-2BFC8187209E}" dt="2018-11-15T11:22:53.182" v="25636"/>
          <ac:spMkLst>
            <pc:docMk/>
            <pc:sldMk cId="3470669122" sldId="732"/>
            <ac:spMk id="2" creationId="{4C943B23-A2D2-45E2-B4B0-9DB2B2F99EAF}"/>
          </ac:spMkLst>
        </pc:spChg>
        <pc:spChg chg="del">
          <ac:chgData name="Yakov Pakhomov" userId="857a8f7002735771" providerId="LiveId" clId="{77711C24-CE86-4310-83AB-2BFC8187209E}" dt="2018-11-15T11:22:53.182" v="25636"/>
          <ac:spMkLst>
            <pc:docMk/>
            <pc:sldMk cId="3470669122" sldId="732"/>
            <ac:spMk id="3" creationId="{DF2B4B79-6B9C-4A67-969A-74662D7A36A0}"/>
          </ac:spMkLst>
        </pc:spChg>
        <pc:spChg chg="del">
          <ac:chgData name="Yakov Pakhomov" userId="857a8f7002735771" providerId="LiveId" clId="{77711C24-CE86-4310-83AB-2BFC8187209E}" dt="2018-11-15T11:22:53.182" v="25636"/>
          <ac:spMkLst>
            <pc:docMk/>
            <pc:sldMk cId="3470669122" sldId="732"/>
            <ac:spMk id="4" creationId="{9E702464-63C9-401F-B0D5-6C31D363369C}"/>
          </ac:spMkLst>
        </pc:spChg>
        <pc:spChg chg="add del mod">
          <ac:chgData name="Yakov Pakhomov" userId="857a8f7002735771" providerId="LiveId" clId="{77711C24-CE86-4310-83AB-2BFC8187209E}" dt="2018-11-15T11:22:56.172" v="25651" actId="478"/>
          <ac:spMkLst>
            <pc:docMk/>
            <pc:sldMk cId="3470669122" sldId="732"/>
            <ac:spMk id="5" creationId="{A7E66565-4D06-4312-B91F-2E7BDD5B5441}"/>
          </ac:spMkLst>
        </pc:spChg>
        <pc:spChg chg="add del mod">
          <ac:chgData name="Yakov Pakhomov" userId="857a8f7002735771" providerId="LiveId" clId="{77711C24-CE86-4310-83AB-2BFC8187209E}" dt="2018-11-15T11:23:08.513" v="25664" actId="478"/>
          <ac:spMkLst>
            <pc:docMk/>
            <pc:sldMk cId="3470669122" sldId="732"/>
            <ac:spMk id="6" creationId="{C968430E-EDB3-4A2E-A71A-EC481144ADF8}"/>
          </ac:spMkLst>
        </pc:spChg>
        <pc:spChg chg="add mod ord">
          <ac:chgData name="Yakov Pakhomov" userId="857a8f7002735771" providerId="LiveId" clId="{77711C24-CE86-4310-83AB-2BFC8187209E}" dt="2018-11-15T16:07:23.884" v="28126"/>
          <ac:spMkLst>
            <pc:docMk/>
            <pc:sldMk cId="3470669122" sldId="732"/>
            <ac:spMk id="7" creationId="{F5E49B3D-E753-4F8B-B26E-D5CF66E01D9F}"/>
          </ac:spMkLst>
        </pc:spChg>
        <pc:spChg chg="add del mod ord">
          <ac:chgData name="Yakov Pakhomov" userId="857a8f7002735771" providerId="LiveId" clId="{77711C24-CE86-4310-83AB-2BFC8187209E}" dt="2018-11-15T16:07:32.623" v="28134" actId="478"/>
          <ac:spMkLst>
            <pc:docMk/>
            <pc:sldMk cId="3470669122" sldId="732"/>
            <ac:spMk id="10" creationId="{F22B4ED9-E428-41FE-8B1B-E7BA7FBD9E95}"/>
          </ac:spMkLst>
        </pc:spChg>
        <pc:graphicFrameChg chg="add mod ord">
          <ac:chgData name="Yakov Pakhomov" userId="857a8f7002735771" providerId="LiveId" clId="{77711C24-CE86-4310-83AB-2BFC8187209E}" dt="2018-11-15T16:07:23.891" v="28132"/>
          <ac:graphicFrameMkLst>
            <pc:docMk/>
            <pc:sldMk cId="3470669122" sldId="732"/>
            <ac:graphicFrameMk id="8" creationId="{F60BABD8-4212-432B-B16E-91AEF98D7842}"/>
          </ac:graphicFrameMkLst>
        </pc:graphicFrameChg>
        <pc:graphicFrameChg chg="add mod ord">
          <ac:chgData name="Yakov Pakhomov" userId="857a8f7002735771" providerId="LiveId" clId="{77711C24-CE86-4310-83AB-2BFC8187209E}" dt="2018-11-15T16:07:23.884" v="28128"/>
          <ac:graphicFrameMkLst>
            <pc:docMk/>
            <pc:sldMk cId="3470669122" sldId="732"/>
            <ac:graphicFrameMk id="9" creationId="{EE03F594-4421-498A-960C-DAEC483AA607}"/>
          </ac:graphicFrameMkLst>
        </pc:graphicFrameChg>
      </pc:sldChg>
      <pc:sldChg chg="addSp delSp modSp add ord">
        <pc:chgData name="Yakov Pakhomov" userId="857a8f7002735771" providerId="LiveId" clId="{77711C24-CE86-4310-83AB-2BFC8187209E}" dt="2018-11-15T13:30:20.999" v="26855"/>
        <pc:sldMkLst>
          <pc:docMk/>
          <pc:sldMk cId="2028856204" sldId="733"/>
        </pc:sldMkLst>
        <pc:spChg chg="del">
          <ac:chgData name="Yakov Pakhomov" userId="857a8f7002735771" providerId="LiveId" clId="{77711C24-CE86-4310-83AB-2BFC8187209E}" dt="2018-11-15T11:41:18.937" v="25777"/>
          <ac:spMkLst>
            <pc:docMk/>
            <pc:sldMk cId="2028856204" sldId="733"/>
            <ac:spMk id="2" creationId="{DD39067F-B1D7-4043-9C18-A8B22F56300A}"/>
          </ac:spMkLst>
        </pc:spChg>
        <pc:spChg chg="add mod">
          <ac:chgData name="Yakov Pakhomov" userId="857a8f7002735771" providerId="LiveId" clId="{77711C24-CE86-4310-83AB-2BFC8187209E}" dt="2018-11-15T11:41:18.937" v="25777"/>
          <ac:spMkLst>
            <pc:docMk/>
            <pc:sldMk cId="2028856204" sldId="733"/>
            <ac:spMk id="4" creationId="{898F48CD-687C-4768-84E9-B6435A3AA053}"/>
          </ac:spMkLst>
        </pc:spChg>
        <pc:spChg chg="add mod">
          <ac:chgData name="Yakov Pakhomov" userId="857a8f7002735771" providerId="LiveId" clId="{77711C24-CE86-4310-83AB-2BFC8187209E}" dt="2018-11-15T11:41:18.937" v="25777"/>
          <ac:spMkLst>
            <pc:docMk/>
            <pc:sldMk cId="2028856204" sldId="733"/>
            <ac:spMk id="5" creationId="{11B7B9BE-2B5E-4B9A-A401-6A5CF47D5351}"/>
          </ac:spMkLst>
        </pc:spChg>
        <pc:spChg chg="add mod">
          <ac:chgData name="Yakov Pakhomov" userId="857a8f7002735771" providerId="LiveId" clId="{77711C24-CE86-4310-83AB-2BFC8187209E}" dt="2018-11-15T11:47:35.697" v="25798" actId="20577"/>
          <ac:spMkLst>
            <pc:docMk/>
            <pc:sldMk cId="2028856204" sldId="733"/>
            <ac:spMk id="6" creationId="{2F8403D9-D4F0-4377-A49F-F923ABF13509}"/>
          </ac:spMkLst>
        </pc:spChg>
        <pc:graphicFrameChg chg="add mod">
          <ac:chgData name="Yakov Pakhomov" userId="857a8f7002735771" providerId="LiveId" clId="{77711C24-CE86-4310-83AB-2BFC8187209E}" dt="2018-11-15T11:41:28.142" v="25793" actId="14100"/>
          <ac:graphicFrameMkLst>
            <pc:docMk/>
            <pc:sldMk cId="2028856204" sldId="733"/>
            <ac:graphicFrameMk id="3" creationId="{2D760E3A-E6A9-4E53-81FA-91814F64B75F}"/>
          </ac:graphicFrameMkLst>
        </pc:graphicFrameChg>
        <pc:graphicFrameChg chg="add mod ord">
          <ac:chgData name="Yakov Pakhomov" userId="857a8f7002735771" providerId="LiveId" clId="{77711C24-CE86-4310-83AB-2BFC8187209E}" dt="2018-11-15T11:41:19.490" v="25791"/>
          <ac:graphicFrameMkLst>
            <pc:docMk/>
            <pc:sldMk cId="2028856204" sldId="733"/>
            <ac:graphicFrameMk id="7" creationId="{F2D0ECDF-B20F-4087-8FBF-D0F319FEABD7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5T13:29:06.391" v="26849" actId="14100"/>
        <pc:sldMkLst>
          <pc:docMk/>
          <pc:sldMk cId="102414786" sldId="734"/>
        </pc:sldMkLst>
        <pc:spChg chg="del">
          <ac:chgData name="Yakov Pakhomov" userId="857a8f7002735771" providerId="LiveId" clId="{77711C24-CE86-4310-83AB-2BFC8187209E}" dt="2018-11-15T13:28:32.708" v="26819"/>
          <ac:spMkLst>
            <pc:docMk/>
            <pc:sldMk cId="102414786" sldId="734"/>
            <ac:spMk id="2" creationId="{F604579E-CF16-4B19-A0CC-0853F7024D7A}"/>
          </ac:spMkLst>
        </pc:spChg>
        <pc:spChg chg="add del mod">
          <ac:chgData name="Yakov Pakhomov" userId="857a8f7002735771" providerId="LiveId" clId="{77711C24-CE86-4310-83AB-2BFC8187209E}" dt="2018-11-15T13:28:36.373" v="26835" actId="478"/>
          <ac:spMkLst>
            <pc:docMk/>
            <pc:sldMk cId="102414786" sldId="734"/>
            <ac:spMk id="3" creationId="{FEF3EAEB-0979-4B24-9368-2204DA8E8D70}"/>
          </ac:spMkLst>
        </pc:spChg>
        <pc:spChg chg="add del mod">
          <ac:chgData name="Yakov Pakhomov" userId="857a8f7002735771" providerId="LiveId" clId="{77711C24-CE86-4310-83AB-2BFC8187209E}" dt="2018-11-15T13:28:34.879" v="26834" actId="478"/>
          <ac:spMkLst>
            <pc:docMk/>
            <pc:sldMk cId="102414786" sldId="734"/>
            <ac:spMk id="4" creationId="{8102286A-DDA1-4A65-9391-516EFC17434B}"/>
          </ac:spMkLst>
        </pc:spChg>
        <pc:spChg chg="add mod">
          <ac:chgData name="Yakov Pakhomov" userId="857a8f7002735771" providerId="LiveId" clId="{77711C24-CE86-4310-83AB-2BFC8187209E}" dt="2018-11-15T13:28:41.806" v="26846" actId="20577"/>
          <ac:spMkLst>
            <pc:docMk/>
            <pc:sldMk cId="102414786" sldId="734"/>
            <ac:spMk id="5" creationId="{A613BAA7-F796-4601-BF22-2429A61D28F1}"/>
          </ac:spMkLst>
        </pc:spChg>
        <pc:graphicFrameChg chg="add mod ord">
          <ac:chgData name="Yakov Pakhomov" userId="857a8f7002735771" providerId="LiveId" clId="{77711C24-CE86-4310-83AB-2BFC8187209E}" dt="2018-11-15T13:28:33.269" v="26833"/>
          <ac:graphicFrameMkLst>
            <pc:docMk/>
            <pc:sldMk cId="102414786" sldId="734"/>
            <ac:graphicFrameMk id="6" creationId="{6889E52A-4C1F-4A4C-B693-1867AC829F3F}"/>
          </ac:graphicFrameMkLst>
        </pc:graphicFrameChg>
        <pc:graphicFrameChg chg="add mod">
          <ac:chgData name="Yakov Pakhomov" userId="857a8f7002735771" providerId="LiveId" clId="{77711C24-CE86-4310-83AB-2BFC8187209E}" dt="2018-11-15T13:29:06.391" v="26849" actId="14100"/>
          <ac:graphicFrameMkLst>
            <pc:docMk/>
            <pc:sldMk cId="102414786" sldId="734"/>
            <ac:graphicFrameMk id="7" creationId="{B21925BD-3186-4842-AEC2-6B1B5FE56474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5T14:05:05.654" v="27164" actId="14100"/>
        <pc:sldMkLst>
          <pc:docMk/>
          <pc:sldMk cId="3635696554" sldId="735"/>
        </pc:sldMkLst>
        <pc:spChg chg="del">
          <ac:chgData name="Yakov Pakhomov" userId="857a8f7002735771" providerId="LiveId" clId="{77711C24-CE86-4310-83AB-2BFC8187209E}" dt="2018-11-15T14:04:17.701" v="27141"/>
          <ac:spMkLst>
            <pc:docMk/>
            <pc:sldMk cId="3635696554" sldId="735"/>
            <ac:spMk id="2" creationId="{5BD37FAE-7A51-475C-A83D-2786AE8F0DD0}"/>
          </ac:spMkLst>
        </pc:spChg>
        <pc:spChg chg="add del mod">
          <ac:chgData name="Yakov Pakhomov" userId="857a8f7002735771" providerId="LiveId" clId="{77711C24-CE86-4310-83AB-2BFC8187209E}" dt="2018-11-15T14:04:24.044" v="27156"/>
          <ac:spMkLst>
            <pc:docMk/>
            <pc:sldMk cId="3635696554" sldId="735"/>
            <ac:spMk id="3" creationId="{0D516577-140D-41BB-B294-BBCB54A1A5AB}"/>
          </ac:spMkLst>
        </pc:spChg>
        <pc:graphicFrameChg chg="add mod ord">
          <ac:chgData name="Yakov Pakhomov" userId="857a8f7002735771" providerId="LiveId" clId="{77711C24-CE86-4310-83AB-2BFC8187209E}" dt="2018-11-15T14:04:18.249" v="27155"/>
          <ac:graphicFrameMkLst>
            <pc:docMk/>
            <pc:sldMk cId="3635696554" sldId="735"/>
            <ac:graphicFrameMk id="4" creationId="{C6EDA29C-D020-4DEB-B356-5D47E6DA67F5}"/>
          </ac:graphicFrameMkLst>
        </pc:graphicFrameChg>
        <pc:graphicFrameChg chg="add mod">
          <ac:chgData name="Yakov Pakhomov" userId="857a8f7002735771" providerId="LiveId" clId="{77711C24-CE86-4310-83AB-2BFC8187209E}" dt="2018-11-15T14:05:05.654" v="27164" actId="14100"/>
          <ac:graphicFrameMkLst>
            <pc:docMk/>
            <pc:sldMk cId="3635696554" sldId="735"/>
            <ac:graphicFrameMk id="5" creationId="{5E0E7C68-BBFE-4CC8-B24D-1BCC43ED92ED}"/>
          </ac:graphicFrameMkLst>
        </pc:graphicFrameChg>
      </pc:sldChg>
      <pc:sldChg chg="addSp delSp modSp add">
        <pc:chgData name="Yakov Pakhomov" userId="857a8f7002735771" providerId="LiveId" clId="{77711C24-CE86-4310-83AB-2BFC8187209E}" dt="2018-11-15T14:12:41.066" v="27211" actId="14100"/>
        <pc:sldMkLst>
          <pc:docMk/>
          <pc:sldMk cId="3410722142" sldId="736"/>
        </pc:sldMkLst>
        <pc:spChg chg="del">
          <ac:chgData name="Yakov Pakhomov" userId="857a8f7002735771" providerId="LiveId" clId="{77711C24-CE86-4310-83AB-2BFC8187209E}" dt="2018-11-15T14:12:03.854" v="27168"/>
          <ac:spMkLst>
            <pc:docMk/>
            <pc:sldMk cId="3410722142" sldId="736"/>
            <ac:spMk id="2" creationId="{4C541495-46EC-4009-AB50-85F11C9AAF21}"/>
          </ac:spMkLst>
        </pc:spChg>
        <pc:spChg chg="add del mod">
          <ac:chgData name="Yakov Pakhomov" userId="857a8f7002735771" providerId="LiveId" clId="{77711C24-CE86-4310-83AB-2BFC8187209E}" dt="2018-11-15T14:12:07.768" v="27169"/>
          <ac:spMkLst>
            <pc:docMk/>
            <pc:sldMk cId="3410722142" sldId="736"/>
            <ac:spMk id="4" creationId="{0A6FDA4F-1124-443B-907B-12D17C5FF415}"/>
          </ac:spMkLst>
        </pc:spChg>
        <pc:spChg chg="add mod">
          <ac:chgData name="Yakov Pakhomov" userId="857a8f7002735771" providerId="LiveId" clId="{77711C24-CE86-4310-83AB-2BFC8187209E}" dt="2018-11-15T14:12:26.124" v="27209" actId="20577"/>
          <ac:spMkLst>
            <pc:docMk/>
            <pc:sldMk cId="3410722142" sldId="736"/>
            <ac:spMk id="5" creationId="{F8F79BDC-4862-4189-97E4-2C0545194B49}"/>
          </ac:spMkLst>
        </pc:spChg>
        <pc:graphicFrameChg chg="add mod">
          <ac:chgData name="Yakov Pakhomov" userId="857a8f7002735771" providerId="LiveId" clId="{77711C24-CE86-4310-83AB-2BFC8187209E}" dt="2018-11-15T14:12:41.066" v="27211" actId="14100"/>
          <ac:graphicFrameMkLst>
            <pc:docMk/>
            <pc:sldMk cId="3410722142" sldId="736"/>
            <ac:graphicFrameMk id="3" creationId="{FE93A6FE-2D04-423A-BAE3-7251B08EFDDF}"/>
          </ac:graphicFrameMkLst>
        </pc:graphicFrameChg>
        <pc:graphicFrameChg chg="add mod ord">
          <ac:chgData name="Yakov Pakhomov" userId="857a8f7002735771" providerId="LiveId" clId="{77711C24-CE86-4310-83AB-2BFC8187209E}" dt="2018-11-15T14:12:07.834" v="27183"/>
          <ac:graphicFrameMkLst>
            <pc:docMk/>
            <pc:sldMk cId="3410722142" sldId="736"/>
            <ac:graphicFrameMk id="6" creationId="{191EC571-43DE-48C1-B8FA-95CAADAC7B11}"/>
          </ac:graphicFrameMkLst>
        </pc:graphicFrameChg>
      </pc:sldChg>
      <pc:sldMasterChg chg="modSldLayout">
        <pc:chgData name="Yakov Pakhomov" userId="857a8f7002735771" providerId="LiveId" clId="{77711C24-CE86-4310-83AB-2BFC8187209E}" dt="2018-11-15T13:55:44.554" v="27136" actId="1076"/>
        <pc:sldMasterMkLst>
          <pc:docMk/>
          <pc:sldMasterMk cId="4083332100" sldId="2147483660"/>
        </pc:sldMasterMkLst>
        <pc:sldLayoutChg chg="delSp modSp">
          <pc:chgData name="Yakov Pakhomov" userId="857a8f7002735771" providerId="LiveId" clId="{77711C24-CE86-4310-83AB-2BFC8187209E}" dt="2018-11-15T13:55:44.554" v="27136" actId="1076"/>
          <pc:sldLayoutMkLst>
            <pc:docMk/>
            <pc:sldMasterMk cId="4083332100" sldId="2147483660"/>
            <pc:sldLayoutMk cId="3763861359" sldId="2147483678"/>
          </pc:sldLayoutMkLst>
          <pc:spChg chg="del">
            <ac:chgData name="Yakov Pakhomov" userId="857a8f7002735771" providerId="LiveId" clId="{77711C24-CE86-4310-83AB-2BFC8187209E}" dt="2018-11-15T13:55:40.007" v="27134" actId="478"/>
            <ac:spMkLst>
              <pc:docMk/>
              <pc:sldMasterMk cId="4083332100" sldId="2147483660"/>
              <pc:sldLayoutMk cId="3763861359" sldId="2147483678"/>
              <ac:spMk id="11" creationId="{00000000-0000-0000-0000-000000000000}"/>
            </ac:spMkLst>
          </pc:spChg>
          <pc:spChg chg="del">
            <ac:chgData name="Yakov Pakhomov" userId="857a8f7002735771" providerId="LiveId" clId="{77711C24-CE86-4310-83AB-2BFC8187209E}" dt="2018-11-15T13:55:41.183" v="27135" actId="478"/>
            <ac:spMkLst>
              <pc:docMk/>
              <pc:sldMasterMk cId="4083332100" sldId="2147483660"/>
              <pc:sldLayoutMk cId="3763861359" sldId="2147483678"/>
              <ac:spMk id="12" creationId="{00000000-0000-0000-0000-000000000000}"/>
            </ac:spMkLst>
          </pc:spChg>
          <pc:spChg chg="mod">
            <ac:chgData name="Yakov Pakhomov" userId="857a8f7002735771" providerId="LiveId" clId="{77711C24-CE86-4310-83AB-2BFC8187209E}" dt="2018-11-15T13:55:44.554" v="27136" actId="1076"/>
            <ac:spMkLst>
              <pc:docMk/>
              <pc:sldMasterMk cId="4083332100" sldId="2147483660"/>
              <pc:sldLayoutMk cId="3763861359" sldId="2147483678"/>
              <ac:spMk id="13" creationId="{00000000-0000-0000-0000-000000000000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Chart%20in%20Microsoft%20PowerPoint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7.xml"/><Relationship Id="rId1" Type="http://schemas.microsoft.com/office/2011/relationships/chartStyle" Target="style7.xml"/><Relationship Id="rId5" Type="http://schemas.openxmlformats.org/officeDocument/2006/relationships/chartUserShapes" Target="../drawings/drawing4.xml"/><Relationship Id="rId4" Type="http://schemas.openxmlformats.org/officeDocument/2006/relationships/oleObject" Target="https://d.docs.live.net/857a8f7002735771/ada%202016.xlsx" TargetMode="Externa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8.xml"/><Relationship Id="rId1" Type="http://schemas.microsoft.com/office/2011/relationships/chartStyle" Target="style8.xml"/><Relationship Id="rId5" Type="http://schemas.openxmlformats.org/officeDocument/2006/relationships/chartUserShapes" Target="../drawings/drawing5.xml"/><Relationship Id="rId4" Type="http://schemas.openxmlformats.org/officeDocument/2006/relationships/oleObject" Target="https://d.docs.live.net/857a8f7002735771/ada%202016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d.docs.live.net/857a8f7002735771/ada%202016.xlsx" TargetMode="Externa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6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https://d.docs.live.net/857a8f7002735771/&#1044;&#1086;&#1082;&#1091;&#1084;&#1077;&#1085;&#1090;&#1099;/Internist/2017%20ADA/ADA%202017%20&#1080;&#1089;&#1093;&#1086;&#1076;&#1085;&#1080;&#1082;&#1080;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5" Type="http://schemas.openxmlformats.org/officeDocument/2006/relationships/chartUserShapes" Target="../drawings/drawing2.xml"/><Relationship Id="rId4" Type="http://schemas.openxmlformats.org/officeDocument/2006/relationships/oleObject" Target="https://d.docs.live.net/857a8f7002735771/ada%202016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6.xml"/><Relationship Id="rId1" Type="http://schemas.microsoft.com/office/2011/relationships/chartStyle" Target="style6.xml"/><Relationship Id="rId5" Type="http://schemas.openxmlformats.org/officeDocument/2006/relationships/chartUserShapes" Target="../drawings/drawing3.xml"/><Relationship Id="rId4" Type="http://schemas.openxmlformats.org/officeDocument/2006/relationships/oleObject" Target="https://d.docs.live.net/857a8f7002735771/ada%202016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903024811995692"/>
          <c:y val="4.1097543121759478E-2"/>
          <c:w val="0.82256532668031501"/>
          <c:h val="0.77914035131273018"/>
        </c:manualLayout>
      </c:layout>
      <c:scatterChart>
        <c:scatterStyle val="lineMarker"/>
        <c:varyColors val="0"/>
        <c:ser>
          <c:idx val="0"/>
          <c:order val="0"/>
          <c:tx>
            <c:strRef>
              <c:f>'[Chart in Microsoft PowerPoint]Sheet2'!$D$4</c:f>
              <c:strCache>
                <c:ptCount val="1"/>
                <c:pt idx="0">
                  <c:v>Дапаглифлозин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[Chart in Microsoft PowerPoint]Sheet2'!$D$5:$D$70</c:f>
              <c:numCache>
                <c:formatCode>General</c:formatCode>
                <c:ptCount val="66"/>
                <c:pt idx="0">
                  <c:v>14.518251293492201</c:v>
                </c:pt>
                <c:pt idx="1">
                  <c:v>43.595765889780203</c:v>
                </c:pt>
                <c:pt idx="2">
                  <c:v>69.009540988275504</c:v>
                </c:pt>
                <c:pt idx="3">
                  <c:v>79.891394123510693</c:v>
                </c:pt>
                <c:pt idx="4">
                  <c:v>94.423316086770797</c:v>
                </c:pt>
                <c:pt idx="5">
                  <c:v>112.57796553852</c:v>
                </c:pt>
                <c:pt idx="6">
                  <c:v>127.10988750177999</c:v>
                </c:pt>
                <c:pt idx="7">
                  <c:v>145.25086628376101</c:v>
                </c:pt>
                <c:pt idx="8">
                  <c:v>167.041913893767</c:v>
                </c:pt>
                <c:pt idx="9">
                  <c:v>185.169222005981</c:v>
                </c:pt>
                <c:pt idx="10">
                  <c:v>203.296530118194</c:v>
                </c:pt>
                <c:pt idx="11">
                  <c:v>228.68296387715401</c:v>
                </c:pt>
                <c:pt idx="12">
                  <c:v>283.18792424170499</c:v>
                </c:pt>
                <c:pt idx="13">
                  <c:v>315.90183699624998</c:v>
                </c:pt>
                <c:pt idx="14">
                  <c:v>334.015474438696</c:v>
                </c:pt>
                <c:pt idx="15">
                  <c:v>377.57022831917197</c:v>
                </c:pt>
                <c:pt idx="16">
                  <c:v>421.138652869417</c:v>
                </c:pt>
                <c:pt idx="17">
                  <c:v>442.88868847011901</c:v>
                </c:pt>
                <c:pt idx="18">
                  <c:v>464.69340674989297</c:v>
                </c:pt>
                <c:pt idx="19">
                  <c:v>497.39364883466999</c:v>
                </c:pt>
                <c:pt idx="20">
                  <c:v>519.15735510514105</c:v>
                </c:pt>
                <c:pt idx="21">
                  <c:v>544.58480087340399</c:v>
                </c:pt>
                <c:pt idx="22">
                  <c:v>566.37584848340998</c:v>
                </c:pt>
                <c:pt idx="23">
                  <c:v>591.78962358190495</c:v>
                </c:pt>
                <c:pt idx="24">
                  <c:v>617.18972801063296</c:v>
                </c:pt>
                <c:pt idx="25">
                  <c:v>639.00811696017502</c:v>
                </c:pt>
                <c:pt idx="26">
                  <c:v>660.71714055157304</c:v>
                </c:pt>
                <c:pt idx="27">
                  <c:v>696.99909811553596</c:v>
                </c:pt>
                <c:pt idx="28">
                  <c:v>726.03560070252001</c:v>
                </c:pt>
                <c:pt idx="29">
                  <c:v>758.69483077799396</c:v>
                </c:pt>
                <c:pt idx="30">
                  <c:v>773.22675274125402</c:v>
                </c:pt>
                <c:pt idx="31">
                  <c:v>776.794797550672</c:v>
                </c:pt>
                <c:pt idx="32">
                  <c:v>813.11776712393805</c:v>
                </c:pt>
                <c:pt idx="33">
                  <c:v>849.39972468790097</c:v>
                </c:pt>
                <c:pt idx="34">
                  <c:v>882.08629610290996</c:v>
                </c:pt>
                <c:pt idx="35">
                  <c:v>907.50007120140504</c:v>
                </c:pt>
                <c:pt idx="36">
                  <c:v>936.48189110931798</c:v>
                </c:pt>
                <c:pt idx="37">
                  <c:v>954.63654056106702</c:v>
                </c:pt>
                <c:pt idx="38">
                  <c:v>976.40024683153695</c:v>
                </c:pt>
                <c:pt idx="39">
                  <c:v>990.93216879479803</c:v>
                </c:pt>
                <c:pt idx="40">
                  <c:v>1016.33227322352</c:v>
                </c:pt>
                <c:pt idx="41">
                  <c:v>1038.0686381544599</c:v>
                </c:pt>
                <c:pt idx="42">
                  <c:v>1059.81867375516</c:v>
                </c:pt>
                <c:pt idx="43">
                  <c:v>1085.24611952343</c:v>
                </c:pt>
                <c:pt idx="44">
                  <c:v>1114.26895144064</c:v>
                </c:pt>
                <c:pt idx="45">
                  <c:v>1143.31912469739</c:v>
                </c:pt>
                <c:pt idx="46">
                  <c:v>1168.7602411354301</c:v>
                </c:pt>
                <c:pt idx="47">
                  <c:v>1175.9646841030999</c:v>
                </c:pt>
                <c:pt idx="48">
                  <c:v>1197.75573171311</c:v>
                </c:pt>
                <c:pt idx="49">
                  <c:v>1208.6102435088101</c:v>
                </c:pt>
                <c:pt idx="50">
                  <c:v>1215.8556984857801</c:v>
                </c:pt>
                <c:pt idx="51">
                  <c:v>1237.63307542602</c:v>
                </c:pt>
                <c:pt idx="52">
                  <c:v>1255.7603835382399</c:v>
                </c:pt>
                <c:pt idx="53">
                  <c:v>1266.61489533393</c:v>
                </c:pt>
                <c:pt idx="54">
                  <c:v>1284.7148621066101</c:v>
                </c:pt>
                <c:pt idx="55">
                  <c:v>1310.1012958655699</c:v>
                </c:pt>
                <c:pt idx="56">
                  <c:v>1331.8786728058101</c:v>
                </c:pt>
                <c:pt idx="57">
                  <c:v>1346.3969240992999</c:v>
                </c:pt>
                <c:pt idx="58">
                  <c:v>1353.6423790762799</c:v>
                </c:pt>
                <c:pt idx="59">
                  <c:v>1371.8106991978</c:v>
                </c:pt>
                <c:pt idx="60">
                  <c:v>1375.4060853467499</c:v>
                </c:pt>
                <c:pt idx="61">
                  <c:v>1393.5880761380399</c:v>
                </c:pt>
                <c:pt idx="62">
                  <c:v>1400.81986044525</c:v>
                </c:pt>
                <c:pt idx="63">
                  <c:v>1415.3244410689699</c:v>
                </c:pt>
                <c:pt idx="64">
                  <c:v>1429.8563630322301</c:v>
                </c:pt>
                <c:pt idx="65">
                  <c:v>1440.7518868372299</c:v>
                </c:pt>
              </c:numCache>
            </c:numRef>
          </c:xVal>
          <c:yVal>
            <c:numRef>
              <c:f>'[Chart in Microsoft PowerPoint]Sheet2'!$E$5:$E$70</c:f>
              <c:numCache>
                <c:formatCode>General</c:formatCode>
                <c:ptCount val="66"/>
                <c:pt idx="0">
                  <c:v>4.4885365737883903E-2</c:v>
                </c:pt>
                <c:pt idx="1">
                  <c:v>6.6986281862628796E-2</c:v>
                </c:pt>
                <c:pt idx="2">
                  <c:v>0.13425736934542201</c:v>
                </c:pt>
                <c:pt idx="3">
                  <c:v>0.179199696207339</c:v>
                </c:pt>
                <c:pt idx="4">
                  <c:v>0.20152845682821499</c:v>
                </c:pt>
                <c:pt idx="5">
                  <c:v>0.24635686144206601</c:v>
                </c:pt>
                <c:pt idx="6">
                  <c:v>0.268685622062942</c:v>
                </c:pt>
                <c:pt idx="7">
                  <c:v>0.33607063179380098</c:v>
                </c:pt>
                <c:pt idx="8">
                  <c:v>0.38084207528361902</c:v>
                </c:pt>
                <c:pt idx="9">
                  <c:v>0.47078369013148502</c:v>
                </c:pt>
                <c:pt idx="10">
                  <c:v>0.56072530497935202</c:v>
                </c:pt>
                <c:pt idx="11">
                  <c:v>0.67310960269616005</c:v>
                </c:pt>
                <c:pt idx="12">
                  <c:v>0.73992500118669002</c:v>
                </c:pt>
                <c:pt idx="13">
                  <c:v>0.76196895618740201</c:v>
                </c:pt>
                <c:pt idx="14">
                  <c:v>0.87446717615227598</c:v>
                </c:pt>
                <c:pt idx="15">
                  <c:v>1.0091232733659301</c:v>
                </c:pt>
                <c:pt idx="16">
                  <c:v>1.1212227654625699</c:v>
                </c:pt>
                <c:pt idx="17">
                  <c:v>1.23366402430341</c:v>
                </c:pt>
                <c:pt idx="18">
                  <c:v>1.2558788626762201</c:v>
                </c:pt>
                <c:pt idx="19">
                  <c:v>1.30047942279394</c:v>
                </c:pt>
                <c:pt idx="20">
                  <c:v>1.39036407651778</c:v>
                </c:pt>
                <c:pt idx="21">
                  <c:v>1.43507855888356</c:v>
                </c:pt>
                <c:pt idx="22">
                  <c:v>1.47985000237338</c:v>
                </c:pt>
                <c:pt idx="23">
                  <c:v>1.54712108985617</c:v>
                </c:pt>
                <c:pt idx="24">
                  <c:v>1.6369487824559701</c:v>
                </c:pt>
                <c:pt idx="25">
                  <c:v>1.63660701571178</c:v>
                </c:pt>
                <c:pt idx="26">
                  <c:v>1.8167180899036399</c:v>
                </c:pt>
                <c:pt idx="27">
                  <c:v>1.95148810936536</c:v>
                </c:pt>
                <c:pt idx="28">
                  <c:v>2.0412588408411301</c:v>
                </c:pt>
                <c:pt idx="29">
                  <c:v>2.1535292163098698</c:v>
                </c:pt>
                <c:pt idx="30">
                  <c:v>2.17585797693074</c:v>
                </c:pt>
                <c:pt idx="31">
                  <c:v>2.2885840413917502</c:v>
                </c:pt>
                <c:pt idx="32">
                  <c:v>2.3556842455024398</c:v>
                </c:pt>
                <c:pt idx="33">
                  <c:v>2.4904542649641601</c:v>
                </c:pt>
                <c:pt idx="34">
                  <c:v>2.5576114301988899</c:v>
                </c:pt>
                <c:pt idx="35">
                  <c:v>2.6248825176816801</c:v>
                </c:pt>
                <c:pt idx="36">
                  <c:v>2.8048796696254801</c:v>
                </c:pt>
                <c:pt idx="37">
                  <c:v>2.8497080742393299</c:v>
                </c:pt>
                <c:pt idx="38">
                  <c:v>2.9395927279631699</c:v>
                </c:pt>
                <c:pt idx="39">
                  <c:v>2.9619214885840401</c:v>
                </c:pt>
                <c:pt idx="40">
                  <c:v>3.05174918118384</c:v>
                </c:pt>
                <c:pt idx="41">
                  <c:v>3.1867470451416899</c:v>
                </c:pt>
                <c:pt idx="42">
                  <c:v>3.2991883039825298</c:v>
                </c:pt>
                <c:pt idx="43">
                  <c:v>3.3439027863483202</c:v>
                </c:pt>
                <c:pt idx="44">
                  <c:v>3.4562301229410899</c:v>
                </c:pt>
                <c:pt idx="45">
                  <c:v>3.5234442492998501</c:v>
                </c:pt>
                <c:pt idx="46">
                  <c:v>3.5456021265486299</c:v>
                </c:pt>
                <c:pt idx="47">
                  <c:v>3.6582712298855999</c:v>
                </c:pt>
                <c:pt idx="48">
                  <c:v>3.7030426733754198</c:v>
                </c:pt>
                <c:pt idx="49">
                  <c:v>3.7930982104713502</c:v>
                </c:pt>
                <c:pt idx="50">
                  <c:v>3.8380974984573002</c:v>
                </c:pt>
                <c:pt idx="51">
                  <c:v>3.9054255470641301</c:v>
                </c:pt>
                <c:pt idx="52">
                  <c:v>3.9953671619119899</c:v>
                </c:pt>
                <c:pt idx="53">
                  <c:v>4.0854226990079301</c:v>
                </c:pt>
                <c:pt idx="54">
                  <c:v>4.2204775240898096</c:v>
                </c:pt>
                <c:pt idx="55">
                  <c:v>4.3328618218066204</c:v>
                </c:pt>
                <c:pt idx="56">
                  <c:v>4.4001898704134401</c:v>
                </c:pt>
                <c:pt idx="57">
                  <c:v>4.4450752361513297</c:v>
                </c:pt>
                <c:pt idx="58">
                  <c:v>4.4900745241372801</c:v>
                </c:pt>
                <c:pt idx="59">
                  <c:v>4.5123463236341204</c:v>
                </c:pt>
                <c:pt idx="60">
                  <c:v>4.5799591778611104</c:v>
                </c:pt>
                <c:pt idx="61">
                  <c:v>4.5796743722409499</c:v>
                </c:pt>
                <c:pt idx="62">
                  <c:v>4.6472302653439002</c:v>
                </c:pt>
                <c:pt idx="63">
                  <c:v>4.7146722361987896</c:v>
                </c:pt>
                <c:pt idx="64">
                  <c:v>4.7370009968196696</c:v>
                </c:pt>
                <c:pt idx="65">
                  <c:v>4.75938671856458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5DC4-427F-9245-CB33C5B5F585}"/>
            </c:ext>
          </c:extLst>
        </c:ser>
        <c:ser>
          <c:idx val="1"/>
          <c:order val="1"/>
          <c:tx>
            <c:strRef>
              <c:f>'[Chart in Microsoft PowerPoint]Sheet2'!$A$4</c:f>
              <c:strCache>
                <c:ptCount val="1"/>
                <c:pt idx="0">
                  <c:v>Плацебо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[Chart in Microsoft PowerPoint]Sheet2'!$A$5:$A$126</c:f>
              <c:numCache>
                <c:formatCode>General</c:formatCode>
                <c:ptCount val="122"/>
                <c:pt idx="0">
                  <c:v>18.1409787819813</c:v>
                </c:pt>
                <c:pt idx="1">
                  <c:v>25.400104428727399</c:v>
                </c:pt>
                <c:pt idx="2">
                  <c:v>29.0228319172165</c:v>
                </c:pt>
                <c:pt idx="3">
                  <c:v>36.2819575639626</c:v>
                </c:pt>
                <c:pt idx="4">
                  <c:v>43.541083210708699</c:v>
                </c:pt>
                <c:pt idx="5">
                  <c:v>50.786538187686901</c:v>
                </c:pt>
                <c:pt idx="6">
                  <c:v>58.045663834433</c:v>
                </c:pt>
                <c:pt idx="7">
                  <c:v>61.682061992690002</c:v>
                </c:pt>
                <c:pt idx="8">
                  <c:v>68.941187639436095</c:v>
                </c:pt>
                <c:pt idx="9">
                  <c:v>68.9138462999003</c:v>
                </c:pt>
                <c:pt idx="10">
                  <c:v>76.186642616414304</c:v>
                </c:pt>
                <c:pt idx="11">
                  <c:v>79.809370104903394</c:v>
                </c:pt>
                <c:pt idx="12">
                  <c:v>97.991360896188297</c:v>
                </c:pt>
                <c:pt idx="13">
                  <c:v>105.223145203399</c:v>
                </c:pt>
                <c:pt idx="14">
                  <c:v>116.13233967817</c:v>
                </c:pt>
                <c:pt idx="15">
                  <c:v>123.37779465514799</c:v>
                </c:pt>
                <c:pt idx="16">
                  <c:v>134.25964779038301</c:v>
                </c:pt>
                <c:pt idx="17">
                  <c:v>141.532444106897</c:v>
                </c:pt>
                <c:pt idx="18">
                  <c:v>141.518773437129</c:v>
                </c:pt>
                <c:pt idx="19">
                  <c:v>148.79156975364299</c:v>
                </c:pt>
                <c:pt idx="20">
                  <c:v>148.77789908387501</c:v>
                </c:pt>
                <c:pt idx="21">
                  <c:v>166.95988987516</c:v>
                </c:pt>
                <c:pt idx="22">
                  <c:v>166.946219205392</c:v>
                </c:pt>
                <c:pt idx="23">
                  <c:v>170.58261736364901</c:v>
                </c:pt>
                <c:pt idx="24">
                  <c:v>170.568946693881</c:v>
                </c:pt>
                <c:pt idx="25">
                  <c:v>177.84174301039499</c:v>
                </c:pt>
                <c:pt idx="26">
                  <c:v>177.82807234062801</c:v>
                </c:pt>
                <c:pt idx="27">
                  <c:v>181.464470498884</c:v>
                </c:pt>
                <c:pt idx="28">
                  <c:v>185.087197987374</c:v>
                </c:pt>
                <c:pt idx="29">
                  <c:v>195.95538045284101</c:v>
                </c:pt>
                <c:pt idx="30">
                  <c:v>203.214506099587</c:v>
                </c:pt>
                <c:pt idx="31">
                  <c:v>206.837233588076</c:v>
                </c:pt>
                <c:pt idx="32">
                  <c:v>214.08268856505401</c:v>
                </c:pt>
                <c:pt idx="33">
                  <c:v>221.355484881568</c:v>
                </c:pt>
                <c:pt idx="34">
                  <c:v>224.97821237005701</c:v>
                </c:pt>
                <c:pt idx="35">
                  <c:v>235.88740684482801</c:v>
                </c:pt>
                <c:pt idx="36">
                  <c:v>246.74191864052801</c:v>
                </c:pt>
                <c:pt idx="37">
                  <c:v>254.014714957042</c:v>
                </c:pt>
                <c:pt idx="38">
                  <c:v>261.26016993401998</c:v>
                </c:pt>
                <c:pt idx="39">
                  <c:v>268.51929558076603</c:v>
                </c:pt>
                <c:pt idx="40">
                  <c:v>286.70128637205102</c:v>
                </c:pt>
                <c:pt idx="41">
                  <c:v>290.32401386053999</c:v>
                </c:pt>
                <c:pt idx="42">
                  <c:v>312.14240281008199</c:v>
                </c:pt>
                <c:pt idx="43">
                  <c:v>323.01058527554898</c:v>
                </c:pt>
                <c:pt idx="44">
                  <c:v>330.28338159206299</c:v>
                </c:pt>
                <c:pt idx="45">
                  <c:v>341.17890539706701</c:v>
                </c:pt>
                <c:pt idx="46">
                  <c:v>348.41068970427699</c:v>
                </c:pt>
                <c:pt idx="47">
                  <c:v>355.66981535102298</c:v>
                </c:pt>
                <c:pt idx="48">
                  <c:v>370.20173731428298</c:v>
                </c:pt>
                <c:pt idx="49">
                  <c:v>373.81079413300398</c:v>
                </c:pt>
                <c:pt idx="50">
                  <c:v>384.692647268239</c:v>
                </c:pt>
                <c:pt idx="51">
                  <c:v>384.66530592870402</c:v>
                </c:pt>
                <c:pt idx="52">
                  <c:v>399.21089856173199</c:v>
                </c:pt>
                <c:pt idx="53">
                  <c:v>406.47002420847798</c:v>
                </c:pt>
                <c:pt idx="54">
                  <c:v>424.59733232069101</c:v>
                </c:pt>
                <c:pt idx="55">
                  <c:v>442.73831110267201</c:v>
                </c:pt>
                <c:pt idx="56">
                  <c:v>457.24289172639698</c:v>
                </c:pt>
                <c:pt idx="57">
                  <c:v>468.152086201168</c:v>
                </c:pt>
                <c:pt idx="58">
                  <c:v>471.74747235012097</c:v>
                </c:pt>
                <c:pt idx="59">
                  <c:v>482.656666824892</c:v>
                </c:pt>
                <c:pt idx="60">
                  <c:v>504.37936108605902</c:v>
                </c:pt>
                <c:pt idx="61">
                  <c:v>518.85660037024695</c:v>
                </c:pt>
                <c:pt idx="62">
                  <c:v>529.76579484501804</c:v>
                </c:pt>
                <c:pt idx="63">
                  <c:v>536.99757915222904</c:v>
                </c:pt>
                <c:pt idx="64">
                  <c:v>547.87943228746406</c:v>
                </c:pt>
                <c:pt idx="65">
                  <c:v>555.12488726444201</c:v>
                </c:pt>
                <c:pt idx="66">
                  <c:v>555.08387525513797</c:v>
                </c:pt>
                <c:pt idx="67">
                  <c:v>562.34300090188401</c:v>
                </c:pt>
                <c:pt idx="68">
                  <c:v>569.58845587886299</c:v>
                </c:pt>
                <c:pt idx="69">
                  <c:v>587.72943466084405</c:v>
                </c:pt>
                <c:pt idx="70">
                  <c:v>602.24768595433602</c:v>
                </c:pt>
                <c:pt idx="71">
                  <c:v>609.47947026154702</c:v>
                </c:pt>
                <c:pt idx="72">
                  <c:v>616.75226657806002</c:v>
                </c:pt>
                <c:pt idx="73">
                  <c:v>620.34765272701395</c:v>
                </c:pt>
                <c:pt idx="74">
                  <c:v>642.16604167655601</c:v>
                </c:pt>
                <c:pt idx="75">
                  <c:v>645.74775715574106</c:v>
                </c:pt>
                <c:pt idx="76">
                  <c:v>652.99321213271901</c:v>
                </c:pt>
                <c:pt idx="77">
                  <c:v>660.23866710969799</c:v>
                </c:pt>
                <c:pt idx="78">
                  <c:v>667.511463426212</c:v>
                </c:pt>
                <c:pt idx="79">
                  <c:v>682.02971471970397</c:v>
                </c:pt>
                <c:pt idx="80">
                  <c:v>689.26149902691395</c:v>
                </c:pt>
                <c:pt idx="81">
                  <c:v>700.14335216214897</c:v>
                </c:pt>
                <c:pt idx="82">
                  <c:v>707.38880713912795</c:v>
                </c:pt>
                <c:pt idx="83">
                  <c:v>729.19352541890203</c:v>
                </c:pt>
                <c:pt idx="84">
                  <c:v>743.69810604262602</c:v>
                </c:pt>
                <c:pt idx="85">
                  <c:v>754.56628850809295</c:v>
                </c:pt>
                <c:pt idx="86">
                  <c:v>765.46181231309595</c:v>
                </c:pt>
                <c:pt idx="87">
                  <c:v>776.34366544833199</c:v>
                </c:pt>
                <c:pt idx="88">
                  <c:v>783.60279109507803</c:v>
                </c:pt>
                <c:pt idx="89">
                  <c:v>794.48464423031305</c:v>
                </c:pt>
                <c:pt idx="90">
                  <c:v>801.730099207291</c:v>
                </c:pt>
                <c:pt idx="91">
                  <c:v>830.80761380357899</c:v>
                </c:pt>
                <c:pt idx="92">
                  <c:v>841.66212559927897</c:v>
                </c:pt>
                <c:pt idx="93">
                  <c:v>859.80310438126003</c:v>
                </c:pt>
                <c:pt idx="94">
                  <c:v>870.65761617695898</c:v>
                </c:pt>
                <c:pt idx="95">
                  <c:v>892.42132244743004</c:v>
                </c:pt>
                <c:pt idx="96">
                  <c:v>914.17135804813199</c:v>
                </c:pt>
                <c:pt idx="97">
                  <c:v>932.31233683011305</c:v>
                </c:pt>
                <c:pt idx="98">
                  <c:v>946.83058812360605</c:v>
                </c:pt>
                <c:pt idx="99">
                  <c:v>961.33516874733004</c:v>
                </c:pt>
                <c:pt idx="100">
                  <c:v>990.39901267385005</c:v>
                </c:pt>
                <c:pt idx="101">
                  <c:v>1008.53999145583</c:v>
                </c:pt>
                <c:pt idx="102">
                  <c:v>1026.68097023781</c:v>
                </c:pt>
                <c:pt idx="103">
                  <c:v>1044.8082783500299</c:v>
                </c:pt>
                <c:pt idx="104">
                  <c:v>1070.2357241182899</c:v>
                </c:pt>
                <c:pt idx="105">
                  <c:v>1091.9994303887599</c:v>
                </c:pt>
                <c:pt idx="106">
                  <c:v>1117.4268761570199</c:v>
                </c:pt>
                <c:pt idx="107">
                  <c:v>1124.6313191247</c:v>
                </c:pt>
                <c:pt idx="108">
                  <c:v>1146.4223667347001</c:v>
                </c:pt>
                <c:pt idx="109">
                  <c:v>1168.1587316656401</c:v>
                </c:pt>
                <c:pt idx="110">
                  <c:v>1186.28603977785</c:v>
                </c:pt>
                <c:pt idx="111">
                  <c:v>1208.04974604832</c:v>
                </c:pt>
                <c:pt idx="112">
                  <c:v>1233.43617980728</c:v>
                </c:pt>
                <c:pt idx="113">
                  <c:v>1251.5361465799599</c:v>
                </c:pt>
                <c:pt idx="114">
                  <c:v>1280.5453078274099</c:v>
                </c:pt>
                <c:pt idx="115">
                  <c:v>1309.5954810841599</c:v>
                </c:pt>
                <c:pt idx="116">
                  <c:v>1327.73645986614</c:v>
                </c:pt>
                <c:pt idx="117">
                  <c:v>1345.8911093178899</c:v>
                </c:pt>
                <c:pt idx="118">
                  <c:v>1367.64114491859</c:v>
                </c:pt>
                <c:pt idx="119">
                  <c:v>1396.6776475055799</c:v>
                </c:pt>
                <c:pt idx="120">
                  <c:v>1425.7278207623301</c:v>
                </c:pt>
                <c:pt idx="121">
                  <c:v>1440.1913893767501</c:v>
                </c:pt>
              </c:numCache>
            </c:numRef>
          </c:xVal>
          <c:yVal>
            <c:numRef>
              <c:f>'[Chart in Microsoft PowerPoint]Sheet2'!$B$5:$B$126</c:f>
              <c:numCache>
                <c:formatCode>General</c:formatCode>
                <c:ptCount val="122"/>
                <c:pt idx="0">
                  <c:v>6.7385009730858703E-2</c:v>
                </c:pt>
                <c:pt idx="1">
                  <c:v>8.9827692599800599E-2</c:v>
                </c:pt>
                <c:pt idx="2">
                  <c:v>0.112327336592775</c:v>
                </c:pt>
                <c:pt idx="3">
                  <c:v>0.13477001946171699</c:v>
                </c:pt>
                <c:pt idx="4">
                  <c:v>0.15721270233065901</c:v>
                </c:pt>
                <c:pt idx="5">
                  <c:v>0.202211990316609</c:v>
                </c:pt>
                <c:pt idx="6">
                  <c:v>0.22465467318555099</c:v>
                </c:pt>
                <c:pt idx="7">
                  <c:v>0.22459771206151799</c:v>
                </c:pt>
                <c:pt idx="8">
                  <c:v>0.24704039493046001</c:v>
                </c:pt>
                <c:pt idx="9">
                  <c:v>0.29215360516447503</c:v>
                </c:pt>
                <c:pt idx="10">
                  <c:v>0.29203968291641003</c:v>
                </c:pt>
                <c:pt idx="11">
                  <c:v>0.31453932690938402</c:v>
                </c:pt>
                <c:pt idx="12">
                  <c:v>0.31425452128921999</c:v>
                </c:pt>
                <c:pt idx="13">
                  <c:v>0.381810414392177</c:v>
                </c:pt>
                <c:pt idx="14">
                  <c:v>0.38163953102007903</c:v>
                </c:pt>
                <c:pt idx="15">
                  <c:v>0.42663881900602801</c:v>
                </c:pt>
                <c:pt idx="16">
                  <c:v>0.47158114586794497</c:v>
                </c:pt>
                <c:pt idx="17">
                  <c:v>0.47146722361987897</c:v>
                </c:pt>
                <c:pt idx="18">
                  <c:v>0.49402382873688699</c:v>
                </c:pt>
                <c:pt idx="19">
                  <c:v>0.49390990648882099</c:v>
                </c:pt>
                <c:pt idx="20">
                  <c:v>0.51646651160582902</c:v>
                </c:pt>
                <c:pt idx="21">
                  <c:v>0.51618170598566504</c:v>
                </c:pt>
                <c:pt idx="22">
                  <c:v>0.53873831110267201</c:v>
                </c:pt>
                <c:pt idx="23">
                  <c:v>0.53868134997864003</c:v>
                </c:pt>
                <c:pt idx="24">
                  <c:v>0.561237955095647</c:v>
                </c:pt>
                <c:pt idx="25">
                  <c:v>0.56112403284758205</c:v>
                </c:pt>
                <c:pt idx="26">
                  <c:v>0.58368063796458902</c:v>
                </c:pt>
                <c:pt idx="27">
                  <c:v>0.58362367684055605</c:v>
                </c:pt>
                <c:pt idx="28">
                  <c:v>0.60612332083353104</c:v>
                </c:pt>
                <c:pt idx="29">
                  <c:v>0.67362225281245502</c:v>
                </c:pt>
                <c:pt idx="30">
                  <c:v>0.69606493568139705</c:v>
                </c:pt>
                <c:pt idx="31">
                  <c:v>0.71856457967437204</c:v>
                </c:pt>
                <c:pt idx="32">
                  <c:v>0.76356386766032203</c:v>
                </c:pt>
                <c:pt idx="33">
                  <c:v>0.76344994541225597</c:v>
                </c:pt>
                <c:pt idx="34">
                  <c:v>0.78594958940523096</c:v>
                </c:pt>
                <c:pt idx="35">
                  <c:v>0.78577870603313205</c:v>
                </c:pt>
                <c:pt idx="36">
                  <c:v>0.87583424312906399</c:v>
                </c:pt>
                <c:pt idx="37">
                  <c:v>0.87572032088099905</c:v>
                </c:pt>
                <c:pt idx="38">
                  <c:v>0.92071960886694804</c:v>
                </c:pt>
                <c:pt idx="39">
                  <c:v>0.94316229173588995</c:v>
                </c:pt>
                <c:pt idx="40">
                  <c:v>0.94287748611572597</c:v>
                </c:pt>
                <c:pt idx="41">
                  <c:v>0.96537713010870096</c:v>
                </c:pt>
                <c:pt idx="42">
                  <c:v>0.96503536336450402</c:v>
                </c:pt>
                <c:pt idx="43">
                  <c:v>1.03253429534343</c:v>
                </c:pt>
                <c:pt idx="44">
                  <c:v>1.0324203730953601</c:v>
                </c:pt>
                <c:pt idx="45">
                  <c:v>1.05480609484027</c:v>
                </c:pt>
                <c:pt idx="46">
                  <c:v>1.1223619879432301</c:v>
                </c:pt>
                <c:pt idx="47">
                  <c:v>1.14480467081217</c:v>
                </c:pt>
                <c:pt idx="48">
                  <c:v>1.1671334314330499</c:v>
                </c:pt>
                <c:pt idx="49">
                  <c:v>1.2121896805430299</c:v>
                </c:pt>
                <c:pt idx="50">
                  <c:v>1.2571320074049499</c:v>
                </c:pt>
                <c:pt idx="51">
                  <c:v>1.3022452176389601</c:v>
                </c:pt>
                <c:pt idx="52">
                  <c:v>1.3020173731428299</c:v>
                </c:pt>
                <c:pt idx="53">
                  <c:v>1.3244600560117701</c:v>
                </c:pt>
                <c:pt idx="54">
                  <c:v>1.4144016708596401</c:v>
                </c:pt>
                <c:pt idx="55">
                  <c:v>1.4817866805905</c:v>
                </c:pt>
                <c:pt idx="56">
                  <c:v>1.5492286514453899</c:v>
                </c:pt>
                <c:pt idx="57">
                  <c:v>1.54905776807329</c:v>
                </c:pt>
                <c:pt idx="58">
                  <c:v>1.61667062230028</c:v>
                </c:pt>
                <c:pt idx="59">
                  <c:v>1.6164997389281801</c:v>
                </c:pt>
                <c:pt idx="60">
                  <c:v>1.7740542080030399</c:v>
                </c:pt>
                <c:pt idx="61">
                  <c:v>1.88660938909194</c:v>
                </c:pt>
                <c:pt idx="62">
                  <c:v>1.8864385057198501</c:v>
                </c:pt>
                <c:pt idx="63">
                  <c:v>1.9539943988227999</c:v>
                </c:pt>
                <c:pt idx="64">
                  <c:v>1.9989367256847199</c:v>
                </c:pt>
                <c:pt idx="65">
                  <c:v>2.0439360136706699</c:v>
                </c:pt>
                <c:pt idx="66">
                  <c:v>2.1116058290216899</c:v>
                </c:pt>
                <c:pt idx="67">
                  <c:v>2.1340485118906298</c:v>
                </c:pt>
                <c:pt idx="68">
                  <c:v>2.1790477998765798</c:v>
                </c:pt>
                <c:pt idx="69">
                  <c:v>2.2464328096074402</c:v>
                </c:pt>
                <c:pt idx="70">
                  <c:v>2.2913181753453302</c:v>
                </c:pt>
                <c:pt idx="71">
                  <c:v>2.3588740684482801</c:v>
                </c:pt>
                <c:pt idx="72">
                  <c:v>2.3587601462002201</c:v>
                </c:pt>
                <c:pt idx="73">
                  <c:v>2.4263730004272102</c:v>
                </c:pt>
                <c:pt idx="74">
                  <c:v>2.4260312336830099</c:v>
                </c:pt>
                <c:pt idx="75">
                  <c:v>2.51620069302701</c:v>
                </c:pt>
                <c:pt idx="76">
                  <c:v>2.56119998101296</c:v>
                </c:pt>
                <c:pt idx="77">
                  <c:v>2.60619926899891</c:v>
                </c:pt>
                <c:pt idx="78">
                  <c:v>2.6060853467508398</c:v>
                </c:pt>
                <c:pt idx="79">
                  <c:v>2.6509707124887298</c:v>
                </c:pt>
                <c:pt idx="80">
                  <c:v>2.7185266055916801</c:v>
                </c:pt>
                <c:pt idx="81">
                  <c:v>2.7634689324536001</c:v>
                </c:pt>
                <c:pt idx="82">
                  <c:v>2.8084682204395501</c:v>
                </c:pt>
                <c:pt idx="83">
                  <c:v>2.8306830588123599</c:v>
                </c:pt>
                <c:pt idx="84">
                  <c:v>2.8981250296672498</c:v>
                </c:pt>
                <c:pt idx="85">
                  <c:v>2.9656239616461799</c:v>
                </c:pt>
                <c:pt idx="86">
                  <c:v>2.9880096833910899</c:v>
                </c:pt>
                <c:pt idx="87">
                  <c:v>3.0329520102530001</c:v>
                </c:pt>
                <c:pt idx="88">
                  <c:v>3.05539469312194</c:v>
                </c:pt>
                <c:pt idx="89">
                  <c:v>3.10033701998386</c:v>
                </c:pt>
                <c:pt idx="90">
                  <c:v>3.14533630796981</c:v>
                </c:pt>
                <c:pt idx="91">
                  <c:v>3.1674372240945599</c:v>
                </c:pt>
                <c:pt idx="92">
                  <c:v>3.2574927611904898</c:v>
                </c:pt>
                <c:pt idx="93">
                  <c:v>3.3248777709213502</c:v>
                </c:pt>
                <c:pt idx="94">
                  <c:v>3.4149333080172801</c:v>
                </c:pt>
                <c:pt idx="95">
                  <c:v>3.5048179617411099</c:v>
                </c:pt>
                <c:pt idx="96">
                  <c:v>3.6172592205819498</c:v>
                </c:pt>
                <c:pt idx="97">
                  <c:v>3.6846442303128102</c:v>
                </c:pt>
                <c:pt idx="98">
                  <c:v>3.7295295960506998</c:v>
                </c:pt>
                <c:pt idx="99">
                  <c:v>3.7969715669055901</c:v>
                </c:pt>
                <c:pt idx="100">
                  <c:v>3.8416290881473398</c:v>
                </c:pt>
                <c:pt idx="101">
                  <c:v>3.9090140978782002</c:v>
                </c:pt>
                <c:pt idx="102">
                  <c:v>3.9763991076090601</c:v>
                </c:pt>
                <c:pt idx="103">
                  <c:v>4.0663407224569204</c:v>
                </c:pt>
                <c:pt idx="104">
                  <c:v>4.1110552048227103</c:v>
                </c:pt>
                <c:pt idx="105">
                  <c:v>4.2009398585465396</c:v>
                </c:pt>
                <c:pt idx="106">
                  <c:v>4.2456543409123304</c:v>
                </c:pt>
                <c:pt idx="107">
                  <c:v>4.3583234442493</c:v>
                </c:pt>
                <c:pt idx="108">
                  <c:v>4.4030948877391198</c:v>
                </c:pt>
                <c:pt idx="109">
                  <c:v>4.5380927516969702</c:v>
                </c:pt>
                <c:pt idx="110">
                  <c:v>4.6280343665448296</c:v>
                </c:pt>
                <c:pt idx="111">
                  <c:v>4.7179190202686696</c:v>
                </c:pt>
                <c:pt idx="112">
                  <c:v>4.8303033179854804</c:v>
                </c:pt>
                <c:pt idx="113">
                  <c:v>4.9653581430673599</c:v>
                </c:pt>
                <c:pt idx="114">
                  <c:v>5.1002420847771397</c:v>
                </c:pt>
                <c:pt idx="115">
                  <c:v>5.1674562111359004</c:v>
                </c:pt>
                <c:pt idx="116">
                  <c:v>5.2348412208667598</c:v>
                </c:pt>
                <c:pt idx="117">
                  <c:v>5.2796696254806097</c:v>
                </c:pt>
                <c:pt idx="118">
                  <c:v>5.3921108843214496</c:v>
                </c:pt>
                <c:pt idx="119">
                  <c:v>5.4818816157972199</c:v>
                </c:pt>
                <c:pt idx="120">
                  <c:v>5.5490957421559797</c:v>
                </c:pt>
                <c:pt idx="121">
                  <c:v>5.6842075283618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5DC4-427F-9245-CB33C5B5F5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55447056"/>
        <c:axId val="455440824"/>
      </c:scatterChart>
      <c:valAx>
        <c:axId val="455447056"/>
        <c:scaling>
          <c:orientation val="minMax"/>
          <c:max val="1540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DINPro-Medium" panose="02000503030000020004" pitchFamily="50" charset="0"/>
                    <a:ea typeface="+mn-ea"/>
                    <a:cs typeface="+mn-cs"/>
                  </a:defRPr>
                </a:pPr>
                <a:r>
                  <a:rPr lang="ru-RU"/>
                  <a:t>дней</a:t>
                </a:r>
                <a:endParaRPr lang="en-GB"/>
              </a:p>
            </c:rich>
          </c:tx>
          <c:layout>
            <c:manualLayout>
              <c:xMode val="edge"/>
              <c:yMode val="edge"/>
              <c:x val="0.8705618330440491"/>
              <c:y val="0.9148580890812965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DINPro-Medium" panose="02000503030000020004" pitchFamily="50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pPr>
            <a:endParaRPr lang="ru-RU"/>
          </a:p>
        </c:txPr>
        <c:crossAx val="455440824"/>
        <c:crosses val="autoZero"/>
        <c:crossBetween val="midCat"/>
        <c:majorUnit val="360"/>
      </c:valAx>
      <c:valAx>
        <c:axId val="45544082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DINPro-Medium" panose="02000503030000020004" pitchFamily="50" charset="0"/>
                    <a:ea typeface="+mn-ea"/>
                    <a:cs typeface="+mn-cs"/>
                  </a:defRPr>
                </a:pPr>
                <a:r>
                  <a:rPr lang="ru-RU"/>
                  <a:t>% событий</a:t>
                </a:r>
                <a:endParaRPr lang="en-GB"/>
              </a:p>
            </c:rich>
          </c:tx>
          <c:layout>
            <c:manualLayout>
              <c:xMode val="edge"/>
              <c:yMode val="edge"/>
              <c:x val="2.5566436022785894E-3"/>
              <c:y val="0.3188591442862900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DINPro-Medium" panose="02000503030000020004" pitchFamily="50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pPr>
            <a:endParaRPr lang="ru-RU"/>
          </a:p>
        </c:txPr>
        <c:crossAx val="45544705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1329057503438333"/>
          <c:y val="0.65405934901647611"/>
          <c:w val="0.37945306082144536"/>
          <c:h val="0.139763154274079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INPro-Medium" panose="02000503030000020004" pitchFamily="50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latin typeface="DINPro-Medium" panose="02000503030000020004" pitchFamily="50" charset="0"/>
        </a:defRPr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901159230096238"/>
          <c:y val="3.3509600323093247E-2"/>
          <c:w val="0.8495161854768154"/>
          <c:h val="0.73105715361002555"/>
        </c:manualLayout>
      </c:layout>
      <c:scatterChart>
        <c:scatterStyle val="lineMarker"/>
        <c:varyColors val="0"/>
        <c:ser>
          <c:idx val="0"/>
          <c:order val="0"/>
          <c:tx>
            <c:strRef>
              <c:f>'[ada 2016.xlsx]Sheet8'!$A$4</c:f>
              <c:strCache>
                <c:ptCount val="1"/>
                <c:pt idx="0">
                  <c:v>Placebo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[ada 2016.xlsx]Sheet8'!$A$5:$A$292</c:f>
              <c:numCache>
                <c:formatCode>General</c:formatCode>
                <c:ptCount val="288"/>
                <c:pt idx="0">
                  <c:v>0</c:v>
                </c:pt>
                <c:pt idx="1">
                  <c:v>0.15926694564465499</c:v>
                </c:pt>
                <c:pt idx="2">
                  <c:v>0.23910454870207201</c:v>
                </c:pt>
                <c:pt idx="3">
                  <c:v>0.38587742789423501</c:v>
                </c:pt>
                <c:pt idx="4">
                  <c:v>0.53265030708639705</c:v>
                </c:pt>
                <c:pt idx="5">
                  <c:v>0.192413807628315</c:v>
                </c:pt>
                <c:pt idx="6">
                  <c:v>1.0186033927741101</c:v>
                </c:pt>
                <c:pt idx="7">
                  <c:v>1.2322143432271699</c:v>
                </c:pt>
                <c:pt idx="8">
                  <c:v>1.4374851155036901</c:v>
                </c:pt>
                <c:pt idx="9">
                  <c:v>1.64692921703094</c:v>
                </c:pt>
                <c:pt idx="10">
                  <c:v>1.8480266600567401</c:v>
                </c:pt>
                <c:pt idx="11">
                  <c:v>2.03658467435557</c:v>
                </c:pt>
                <c:pt idx="12">
                  <c:v>2.2251038067048698</c:v>
                </c:pt>
                <c:pt idx="13">
                  <c:v>2.4344766246579601</c:v>
                </c:pt>
                <c:pt idx="14">
                  <c:v>2.6563953516629302</c:v>
                </c:pt>
                <c:pt idx="15">
                  <c:v>2.86164020263976</c:v>
                </c:pt>
                <c:pt idx="16">
                  <c:v>3.0084001211820799</c:v>
                </c:pt>
                <c:pt idx="17">
                  <c:v>3.1300876625953999</c:v>
                </c:pt>
                <c:pt idx="18">
                  <c:v>3.2768022188632502</c:v>
                </c:pt>
                <c:pt idx="19">
                  <c:v>3.4778024570151902</c:v>
                </c:pt>
                <c:pt idx="20">
                  <c:v>3.71642746167293</c:v>
                </c:pt>
                <c:pt idx="21">
                  <c:v>3.9299930498515199</c:v>
                </c:pt>
                <c:pt idx="22">
                  <c:v>4.0515963470408396</c:v>
                </c:pt>
                <c:pt idx="23">
                  <c:v>4.0895580904426501</c:v>
                </c:pt>
                <c:pt idx="24">
                  <c:v>4.1188750803965304</c:v>
                </c:pt>
                <c:pt idx="25">
                  <c:v>4.2238045015577104</c:v>
                </c:pt>
                <c:pt idx="26">
                  <c:v>4.2238369031823302</c:v>
                </c:pt>
                <c:pt idx="27">
                  <c:v>4.4413943715137902</c:v>
                </c:pt>
                <c:pt idx="28">
                  <c:v>4.6591592102427999</c:v>
                </c:pt>
                <c:pt idx="29">
                  <c:v>4.8519099947671398</c:v>
                </c:pt>
                <c:pt idx="30">
                  <c:v>5.0028756441848001</c:v>
                </c:pt>
                <c:pt idx="31">
                  <c:v>5.12875595582363</c:v>
                </c:pt>
                <c:pt idx="32">
                  <c:v>5.2755417956656396</c:v>
                </c:pt>
                <c:pt idx="33">
                  <c:v>5.43484762325983</c:v>
                </c:pt>
                <c:pt idx="34">
                  <c:v>5.58576791040303</c:v>
                </c:pt>
                <c:pt idx="35">
                  <c:v>5.7283220980699996</c:v>
                </c:pt>
                <c:pt idx="36">
                  <c:v>5.8834416357636199</c:v>
                </c:pt>
                <c:pt idx="37">
                  <c:v>6.0636400309111496</c:v>
                </c:pt>
                <c:pt idx="38">
                  <c:v>6.2688719212381301</c:v>
                </c:pt>
                <c:pt idx="39">
                  <c:v>6.4782641801659899</c:v>
                </c:pt>
                <c:pt idx="40">
                  <c:v>6.68767588006863</c:v>
                </c:pt>
                <c:pt idx="41">
                  <c:v>6.8928818490959101</c:v>
                </c:pt>
                <c:pt idx="42">
                  <c:v>7.1022546670490101</c:v>
                </c:pt>
                <c:pt idx="43">
                  <c:v>7.3200000648032502</c:v>
                </c:pt>
                <c:pt idx="44">
                  <c:v>7.5419187918082198</c:v>
                </c:pt>
                <c:pt idx="45">
                  <c:v>7.7638115975134996</c:v>
                </c:pt>
                <c:pt idx="46">
                  <c:v>7.9773771856920899</c:v>
                </c:pt>
                <c:pt idx="47">
                  <c:v>8.1701020489167302</c:v>
                </c:pt>
                <c:pt idx="48">
                  <c:v>8.3544867339648405</c:v>
                </c:pt>
                <c:pt idx="49">
                  <c:v>8.5514108477399091</c:v>
                </c:pt>
                <c:pt idx="50">
                  <c:v>8.7525082907657001</c:v>
                </c:pt>
                <c:pt idx="51">
                  <c:v>8.9494194438909194</c:v>
                </c:pt>
                <c:pt idx="52">
                  <c:v>9.1420924645161694</c:v>
                </c:pt>
                <c:pt idx="53">
                  <c:v>9.3472595515939201</c:v>
                </c:pt>
                <c:pt idx="54">
                  <c:v>9.5649531067487708</c:v>
                </c:pt>
                <c:pt idx="55">
                  <c:v>9.7868199911543599</c:v>
                </c:pt>
                <c:pt idx="56">
                  <c:v>10.012866685135601</c:v>
                </c:pt>
                <c:pt idx="57">
                  <c:v>10.2389133791168</c:v>
                </c:pt>
                <c:pt idx="58">
                  <c:v>10.460832106121799</c:v>
                </c:pt>
                <c:pt idx="59">
                  <c:v>10.6660575161239</c:v>
                </c:pt>
                <c:pt idx="60">
                  <c:v>10.8670707149256</c:v>
                </c:pt>
                <c:pt idx="61">
                  <c:v>11.076411131254099</c:v>
                </c:pt>
                <c:pt idx="62">
                  <c:v>11.2982844959846</c:v>
                </c:pt>
                <c:pt idx="63">
                  <c:v>11.5243376702908</c:v>
                </c:pt>
                <c:pt idx="64">
                  <c:v>11.7503973249219</c:v>
                </c:pt>
                <c:pt idx="65">
                  <c:v>11.980630308803701</c:v>
                </c:pt>
                <c:pt idx="66">
                  <c:v>12.215069023560799</c:v>
                </c:pt>
                <c:pt idx="67">
                  <c:v>12.428641092064399</c:v>
                </c:pt>
                <c:pt idx="68">
                  <c:v>12.600453946760901</c:v>
                </c:pt>
                <c:pt idx="69">
                  <c:v>12.7597597743551</c:v>
                </c:pt>
                <c:pt idx="70">
                  <c:v>12.9399452088528</c:v>
                </c:pt>
                <c:pt idx="71">
                  <c:v>13.1493309874557</c:v>
                </c:pt>
                <c:pt idx="72">
                  <c:v>13.3712173128361</c:v>
                </c:pt>
                <c:pt idx="73">
                  <c:v>13.5931295595161</c:v>
                </c:pt>
                <c:pt idx="74">
                  <c:v>13.806708108344599</c:v>
                </c:pt>
                <c:pt idx="75">
                  <c:v>14.0244535060988</c:v>
                </c:pt>
                <c:pt idx="76">
                  <c:v>14.2505455623545</c:v>
                </c:pt>
                <c:pt idx="77">
                  <c:v>14.4766181776354</c:v>
                </c:pt>
                <c:pt idx="78">
                  <c:v>14.7027102338911</c:v>
                </c:pt>
                <c:pt idx="79">
                  <c:v>14.924654882195799</c:v>
                </c:pt>
                <c:pt idx="80">
                  <c:v>15.146599530500501</c:v>
                </c:pt>
                <c:pt idx="81">
                  <c:v>15.3685052968556</c:v>
                </c:pt>
                <c:pt idx="82">
                  <c:v>15.5862247733101</c:v>
                </c:pt>
                <c:pt idx="83">
                  <c:v>15.795617032238001</c:v>
                </c:pt>
                <c:pt idx="84">
                  <c:v>15.9924828230888</c:v>
                </c:pt>
                <c:pt idx="85">
                  <c:v>16.185181765013699</c:v>
                </c:pt>
                <c:pt idx="86">
                  <c:v>16.3862208851152</c:v>
                </c:pt>
                <c:pt idx="87">
                  <c:v>16.603959802544502</c:v>
                </c:pt>
                <c:pt idx="88">
                  <c:v>16.813352061472401</c:v>
                </c:pt>
                <c:pt idx="89">
                  <c:v>17.001884154471501</c:v>
                </c:pt>
                <c:pt idx="90">
                  <c:v>17.1862234772452</c:v>
                </c:pt>
                <c:pt idx="91">
                  <c:v>17.387269077671601</c:v>
                </c:pt>
                <c:pt idx="92">
                  <c:v>17.584154309497102</c:v>
                </c:pt>
                <c:pt idx="93">
                  <c:v>17.764365665294498</c:v>
                </c:pt>
                <c:pt idx="94">
                  <c:v>17.9362498035652</c:v>
                </c:pt>
                <c:pt idx="95">
                  <c:v>18.120653929587998</c:v>
                </c:pt>
                <c:pt idx="96">
                  <c:v>18.325879339590099</c:v>
                </c:pt>
                <c:pt idx="97">
                  <c:v>18.539419006469</c:v>
                </c:pt>
                <c:pt idx="98">
                  <c:v>18.748798304747002</c:v>
                </c:pt>
                <c:pt idx="99">
                  <c:v>18.958203524324698</c:v>
                </c:pt>
                <c:pt idx="100">
                  <c:v>19.180141692304499</c:v>
                </c:pt>
                <c:pt idx="101">
                  <c:v>19.402073379959301</c:v>
                </c:pt>
                <c:pt idx="102">
                  <c:v>19.619838218688301</c:v>
                </c:pt>
                <c:pt idx="103">
                  <c:v>19.833403806866901</c:v>
                </c:pt>
                <c:pt idx="104">
                  <c:v>20.046969395045501</c:v>
                </c:pt>
                <c:pt idx="105">
                  <c:v>20.2438675875208</c:v>
                </c:pt>
                <c:pt idx="106">
                  <c:v>20.419925055042299</c:v>
                </c:pt>
                <c:pt idx="107">
                  <c:v>20.595924199639398</c:v>
                </c:pt>
                <c:pt idx="108">
                  <c:v>20.779920065192101</c:v>
                </c:pt>
                <c:pt idx="109">
                  <c:v>20.813514069595399</c:v>
                </c:pt>
                <c:pt idx="110">
                  <c:v>20.926705905034101</c:v>
                </c:pt>
                <c:pt idx="111">
                  <c:v>20.7720659113848</c:v>
                </c:pt>
                <c:pt idx="112">
                  <c:v>21.052579736348001</c:v>
                </c:pt>
                <c:pt idx="113">
                  <c:v>21.253586454824799</c:v>
                </c:pt>
                <c:pt idx="114">
                  <c:v>21.475440378580601</c:v>
                </c:pt>
                <c:pt idx="115">
                  <c:v>21.697294302336299</c:v>
                </c:pt>
                <c:pt idx="116">
                  <c:v>21.923340996317599</c:v>
                </c:pt>
                <c:pt idx="117">
                  <c:v>22.161946560000501</c:v>
                </c:pt>
                <c:pt idx="118">
                  <c:v>22.383845846030699</c:v>
                </c:pt>
                <c:pt idx="119">
                  <c:v>22.551446489526999</c:v>
                </c:pt>
                <c:pt idx="120">
                  <c:v>22.664748490489298</c:v>
                </c:pt>
                <c:pt idx="121">
                  <c:v>22.7738966031757</c:v>
                </c:pt>
                <c:pt idx="122">
                  <c:v>22.924803929669</c:v>
                </c:pt>
                <c:pt idx="123">
                  <c:v>23.1216373188952</c:v>
                </c:pt>
                <c:pt idx="124">
                  <c:v>23.347703453851199</c:v>
                </c:pt>
                <c:pt idx="125">
                  <c:v>23.577929957408099</c:v>
                </c:pt>
                <c:pt idx="126">
                  <c:v>23.812336270540602</c:v>
                </c:pt>
                <c:pt idx="127">
                  <c:v>24.042582215072301</c:v>
                </c:pt>
                <c:pt idx="128">
                  <c:v>24.235268196347398</c:v>
                </c:pt>
                <c:pt idx="129">
                  <c:v>24.369469245188</c:v>
                </c:pt>
                <c:pt idx="130">
                  <c:v>24.499496964777801</c:v>
                </c:pt>
                <c:pt idx="131">
                  <c:v>24.6671429705485</c:v>
                </c:pt>
                <c:pt idx="132">
                  <c:v>24.880753921001599</c:v>
                </c:pt>
                <c:pt idx="133">
                  <c:v>25.153471915081798</c:v>
                </c:pt>
                <c:pt idx="134">
                  <c:v>25.3712432341358</c:v>
                </c:pt>
                <c:pt idx="135">
                  <c:v>25.572340677161499</c:v>
                </c:pt>
                <c:pt idx="136">
                  <c:v>25.790066633940999</c:v>
                </c:pt>
                <c:pt idx="137">
                  <c:v>26.024505348698199</c:v>
                </c:pt>
                <c:pt idx="138">
                  <c:v>26.246424075703199</c:v>
                </c:pt>
                <c:pt idx="139">
                  <c:v>26.418211009099998</c:v>
                </c:pt>
                <c:pt idx="140">
                  <c:v>26.552418538265499</c:v>
                </c:pt>
                <c:pt idx="141">
                  <c:v>26.699184937132699</c:v>
                </c:pt>
                <c:pt idx="142">
                  <c:v>26.883556661530999</c:v>
                </c:pt>
                <c:pt idx="143">
                  <c:v>27.101327980584902</c:v>
                </c:pt>
                <c:pt idx="144">
                  <c:v>27.339959465567599</c:v>
                </c:pt>
                <c:pt idx="145">
                  <c:v>27.5785909505503</c:v>
                </c:pt>
                <c:pt idx="146">
                  <c:v>27.767090641924799</c:v>
                </c:pt>
                <c:pt idx="147">
                  <c:v>27.855106415035699</c:v>
                </c:pt>
                <c:pt idx="148">
                  <c:v>27.8302219673294</c:v>
                </c:pt>
                <c:pt idx="149">
                  <c:v>28.0311574022321</c:v>
                </c:pt>
                <c:pt idx="150">
                  <c:v>28.349749616445798</c:v>
                </c:pt>
                <c:pt idx="151">
                  <c:v>28.177936761749201</c:v>
                </c:pt>
                <c:pt idx="152">
                  <c:v>28.575815751401802</c:v>
                </c:pt>
                <c:pt idx="153">
                  <c:v>28.793567629480901</c:v>
                </c:pt>
                <c:pt idx="154">
                  <c:v>28.986286012380699</c:v>
                </c:pt>
                <c:pt idx="155">
                  <c:v>29.1873316128071</c:v>
                </c:pt>
                <c:pt idx="156">
                  <c:v>29.405051089261601</c:v>
                </c:pt>
                <c:pt idx="157">
                  <c:v>29.631104263567799</c:v>
                </c:pt>
                <c:pt idx="158">
                  <c:v>29.857157437873902</c:v>
                </c:pt>
                <c:pt idx="159">
                  <c:v>30.083217092504999</c:v>
                </c:pt>
                <c:pt idx="160">
                  <c:v>30.309276747136099</c:v>
                </c:pt>
                <c:pt idx="161">
                  <c:v>30.5353364017672</c:v>
                </c:pt>
                <c:pt idx="162">
                  <c:v>30.761376615423501</c:v>
                </c:pt>
                <c:pt idx="163">
                  <c:v>30.995795889205901</c:v>
                </c:pt>
                <c:pt idx="164">
                  <c:v>31.213541286960101</c:v>
                </c:pt>
                <c:pt idx="165">
                  <c:v>31.3853671023065</c:v>
                </c:pt>
                <c:pt idx="166">
                  <c:v>31.527947211273201</c:v>
                </c:pt>
                <c:pt idx="167">
                  <c:v>31.687188235618098</c:v>
                </c:pt>
                <c:pt idx="168">
                  <c:v>31.892361803020801</c:v>
                </c:pt>
                <c:pt idx="169">
                  <c:v>32.110087759800301</c:v>
                </c:pt>
                <c:pt idx="170">
                  <c:v>32.290234312348403</c:v>
                </c:pt>
                <c:pt idx="171">
                  <c:v>32.441167560141501</c:v>
                </c:pt>
                <c:pt idx="172">
                  <c:v>32.5963000584849</c:v>
                </c:pt>
                <c:pt idx="173">
                  <c:v>32.747265707902599</c:v>
                </c:pt>
                <c:pt idx="174">
                  <c:v>32.881492678042903</c:v>
                </c:pt>
                <c:pt idx="175">
                  <c:v>33.036592774761701</c:v>
                </c:pt>
                <c:pt idx="176">
                  <c:v>33.229259315062102</c:v>
                </c:pt>
                <c:pt idx="177">
                  <c:v>33.451152120767297</c:v>
                </c:pt>
                <c:pt idx="178">
                  <c:v>33.677205295073499</c:v>
                </c:pt>
                <c:pt idx="179">
                  <c:v>33.911624568855899</c:v>
                </c:pt>
                <c:pt idx="180">
                  <c:v>34.141870513387502</c:v>
                </c:pt>
                <c:pt idx="181">
                  <c:v>34.351262772315401</c:v>
                </c:pt>
                <c:pt idx="182">
                  <c:v>34.514741929160301</c:v>
                </c:pt>
                <c:pt idx="183">
                  <c:v>34.657334998776797</c:v>
                </c:pt>
                <c:pt idx="184">
                  <c:v>34.816588983771602</c:v>
                </c:pt>
                <c:pt idx="185">
                  <c:v>35.0133964516981</c:v>
                </c:pt>
                <c:pt idx="186">
                  <c:v>35.239462586654099</c:v>
                </c:pt>
                <c:pt idx="187">
                  <c:v>35.469695570535897</c:v>
                </c:pt>
                <c:pt idx="188">
                  <c:v>35.695735784192202</c:v>
                </c:pt>
                <c:pt idx="189">
                  <c:v>35.925988209048803</c:v>
                </c:pt>
                <c:pt idx="190">
                  <c:v>36.147926377028497</c:v>
                </c:pt>
                <c:pt idx="191">
                  <c:v>36.248442696916797</c:v>
                </c:pt>
                <c:pt idx="192">
                  <c:v>36.344837530153796</c:v>
                </c:pt>
                <c:pt idx="193">
                  <c:v>36.382689108031897</c:v>
                </c:pt>
                <c:pt idx="194">
                  <c:v>36.491629850320699</c:v>
                </c:pt>
                <c:pt idx="195">
                  <c:v>36.830693410967598</c:v>
                </c:pt>
                <c:pt idx="196">
                  <c:v>36.608755242987897</c:v>
                </c:pt>
                <c:pt idx="197">
                  <c:v>36.910556935324699</c:v>
                </c:pt>
                <c:pt idx="198">
                  <c:v>37.099056626699301</c:v>
                </c:pt>
                <c:pt idx="199">
                  <c:v>37.329315531880802</c:v>
                </c:pt>
                <c:pt idx="200">
                  <c:v>37.5679081349139</c:v>
                </c:pt>
                <c:pt idx="201">
                  <c:v>37.798147599120597</c:v>
                </c:pt>
                <c:pt idx="202">
                  <c:v>38.007546338373402</c:v>
                </c:pt>
                <c:pt idx="203">
                  <c:v>38.187731772871103</c:v>
                </c:pt>
                <c:pt idx="204">
                  <c:v>38.342844830239798</c:v>
                </c:pt>
                <c:pt idx="205">
                  <c:v>38.460320160452802</c:v>
                </c:pt>
                <c:pt idx="206">
                  <c:v>38.552716633212</c:v>
                </c:pt>
                <c:pt idx="207">
                  <c:v>38.607391134591502</c:v>
                </c:pt>
                <c:pt idx="208">
                  <c:v>38.661871226223298</c:v>
                </c:pt>
                <c:pt idx="209">
                  <c:v>39.030329540723201</c:v>
                </c:pt>
                <c:pt idx="210">
                  <c:v>38.833483190847197</c:v>
                </c:pt>
                <c:pt idx="211">
                  <c:v>39.382366711866901</c:v>
                </c:pt>
                <c:pt idx="212">
                  <c:v>39.206322204995402</c:v>
                </c:pt>
                <c:pt idx="213">
                  <c:v>40.228457374852802</c:v>
                </c:pt>
                <c:pt idx="214">
                  <c:v>40.098390773313398</c:v>
                </c:pt>
                <c:pt idx="215">
                  <c:v>39.951604933471401</c:v>
                </c:pt>
                <c:pt idx="216">
                  <c:v>39.608439327147899</c:v>
                </c:pt>
                <c:pt idx="217">
                  <c:v>39.834498981778999</c:v>
                </c:pt>
                <c:pt idx="218">
                  <c:v>40.056417708783897</c:v>
                </c:pt>
                <c:pt idx="219">
                  <c:v>40.4504085034824</c:v>
                </c:pt>
                <c:pt idx="220">
                  <c:v>40.680686849638597</c:v>
                </c:pt>
                <c:pt idx="221">
                  <c:v>40.9109327941703</c:v>
                </c:pt>
                <c:pt idx="222">
                  <c:v>41.086873615843103</c:v>
                </c:pt>
                <c:pt idx="223">
                  <c:v>41.204342465731202</c:v>
                </c:pt>
                <c:pt idx="224">
                  <c:v>41.292585050214399</c:v>
                </c:pt>
                <c:pt idx="225">
                  <c:v>41.3343248230466</c:v>
                </c:pt>
                <c:pt idx="226">
                  <c:v>41.560410398977403</c:v>
                </c:pt>
                <c:pt idx="227">
                  <c:v>42.004144167788603</c:v>
                </c:pt>
                <c:pt idx="228">
                  <c:v>41.782277283383003</c:v>
                </c:pt>
                <c:pt idx="229">
                  <c:v>42.661391682178902</c:v>
                </c:pt>
                <c:pt idx="230">
                  <c:v>42.439518317448403</c:v>
                </c:pt>
                <c:pt idx="231">
                  <c:v>42.221831242618499</c:v>
                </c:pt>
                <c:pt idx="232">
                  <c:v>42.883239125609798</c:v>
                </c:pt>
                <c:pt idx="233">
                  <c:v>43.326940492796297</c:v>
                </c:pt>
                <c:pt idx="234">
                  <c:v>43.1092534179664</c:v>
                </c:pt>
                <c:pt idx="235">
                  <c:v>43.515504987420101</c:v>
                </c:pt>
                <c:pt idx="236">
                  <c:v>43.566083923447898</c:v>
                </c:pt>
                <c:pt idx="237">
                  <c:v>43.644994840041299</c:v>
                </c:pt>
                <c:pt idx="238">
                  <c:v>43.5873653104967</c:v>
                </c:pt>
                <c:pt idx="239">
                  <c:v>43.596094308168603</c:v>
                </c:pt>
                <c:pt idx="240">
                  <c:v>43.638294184070404</c:v>
                </c:pt>
                <c:pt idx="241">
                  <c:v>43.743236565881404</c:v>
                </c:pt>
                <c:pt idx="242">
                  <c:v>43.927634211579402</c:v>
                </c:pt>
                <c:pt idx="243">
                  <c:v>43.843979697141997</c:v>
                </c:pt>
                <c:pt idx="244">
                  <c:v>43.8945586331699</c:v>
                </c:pt>
                <c:pt idx="245">
                  <c:v>44.079092365691203</c:v>
                </c:pt>
                <c:pt idx="246">
                  <c:v>43.844666611583897</c:v>
                </c:pt>
                <c:pt idx="247">
                  <c:v>44.255046148013903</c:v>
                </c:pt>
                <c:pt idx="248">
                  <c:v>44.326472289320598</c:v>
                </c:pt>
                <c:pt idx="249">
                  <c:v>44.3519205252951</c:v>
                </c:pt>
                <c:pt idx="250">
                  <c:v>44.385579332947799</c:v>
                </c:pt>
                <c:pt idx="251">
                  <c:v>44.469434737457703</c:v>
                </c:pt>
                <c:pt idx="252">
                  <c:v>44.607530461577298</c:v>
                </c:pt>
                <c:pt idx="253">
                  <c:v>44.833603076858303</c:v>
                </c:pt>
                <c:pt idx="254">
                  <c:v>45.059649770839499</c:v>
                </c:pt>
                <c:pt idx="255">
                  <c:v>45.285689984495797</c:v>
                </c:pt>
                <c:pt idx="256">
                  <c:v>45.499300934948899</c:v>
                </c:pt>
                <c:pt idx="257">
                  <c:v>45.4330849748806</c:v>
                </c:pt>
                <c:pt idx="258">
                  <c:v>45.634195378556299</c:v>
                </c:pt>
                <c:pt idx="259">
                  <c:v>45.860274474162097</c:v>
                </c:pt>
                <c:pt idx="260">
                  <c:v>45.9983961195814</c:v>
                </c:pt>
                <c:pt idx="261">
                  <c:v>46.069712095364501</c:v>
                </c:pt>
                <c:pt idx="262">
                  <c:v>46.028043606106401</c:v>
                </c:pt>
                <c:pt idx="263">
                  <c:v>46.020020963851103</c:v>
                </c:pt>
                <c:pt idx="264">
                  <c:v>45.999439451894098</c:v>
                </c:pt>
                <c:pt idx="265">
                  <c:v>46.0039691990156</c:v>
                </c:pt>
                <c:pt idx="266">
                  <c:v>46.108937502126402</c:v>
                </c:pt>
                <c:pt idx="267">
                  <c:v>46.335042519031902</c:v>
                </c:pt>
                <c:pt idx="268">
                  <c:v>46.469230607222599</c:v>
                </c:pt>
                <c:pt idx="269">
                  <c:v>46.544499581209003</c:v>
                </c:pt>
                <c:pt idx="270">
                  <c:v>46.457021675066798</c:v>
                </c:pt>
                <c:pt idx="271">
                  <c:v>46.457371612612697</c:v>
                </c:pt>
                <c:pt idx="272">
                  <c:v>46.470267459210397</c:v>
                </c:pt>
                <c:pt idx="273">
                  <c:v>46.483156825483199</c:v>
                </c:pt>
                <c:pt idx="274">
                  <c:v>46.450009963499603</c:v>
                </c:pt>
                <c:pt idx="275">
                  <c:v>46.671974052778999</c:v>
                </c:pt>
                <c:pt idx="276">
                  <c:v>46.831240998423702</c:v>
                </c:pt>
                <c:pt idx="277">
                  <c:v>46.906879350930701</c:v>
                </c:pt>
                <c:pt idx="278">
                  <c:v>46.919781677853301</c:v>
                </c:pt>
                <c:pt idx="279">
                  <c:v>46.907579226022399</c:v>
                </c:pt>
                <c:pt idx="280">
                  <c:v>46.903749353992602</c:v>
                </c:pt>
                <c:pt idx="281">
                  <c:v>46.920844451140802</c:v>
                </c:pt>
                <c:pt idx="282">
                  <c:v>46.9588645174669</c:v>
                </c:pt>
                <c:pt idx="283">
                  <c:v>47.059406758654902</c:v>
                </c:pt>
                <c:pt idx="284">
                  <c:v>47.285459932960997</c:v>
                </c:pt>
                <c:pt idx="285">
                  <c:v>47.511500146617401</c:v>
                </c:pt>
                <c:pt idx="286">
                  <c:v>47.7375662815734</c:v>
                </c:pt>
                <c:pt idx="287">
                  <c:v>47.959510929878</c:v>
                </c:pt>
              </c:numCache>
            </c:numRef>
          </c:xVal>
          <c:yVal>
            <c:numRef>
              <c:f>'[ada 2016.xlsx]Sheet8'!$D$5:$D$292</c:f>
              <c:numCache>
                <c:formatCode>General</c:formatCode>
                <c:ptCount val="288"/>
                <c:pt idx="0">
                  <c:v>0</c:v>
                </c:pt>
                <c:pt idx="1">
                  <c:v>3.4915720674234603E-2</c:v>
                </c:pt>
                <c:pt idx="2">
                  <c:v>9.0299277605779105E-2</c:v>
                </c:pt>
                <c:pt idx="3">
                  <c:v>0.13725490196078399</c:v>
                </c:pt>
                <c:pt idx="4">
                  <c:v>0.18421052631578899</c:v>
                </c:pt>
                <c:pt idx="5">
                  <c:v>0.18421052631578899</c:v>
                </c:pt>
                <c:pt idx="6">
                  <c:v>0.24802201582387301</c:v>
                </c:pt>
                <c:pt idx="7">
                  <c:v>0.26848985208118298</c:v>
                </c:pt>
                <c:pt idx="8">
                  <c:v>0.29497764017887901</c:v>
                </c:pt>
                <c:pt idx="9">
                  <c:v>0.31905744754041998</c:v>
                </c:pt>
                <c:pt idx="10">
                  <c:v>0.34795321637426901</c:v>
                </c:pt>
                <c:pt idx="11">
                  <c:v>0.38046095631235</c:v>
                </c:pt>
                <c:pt idx="12">
                  <c:v>0.40574475404196803</c:v>
                </c:pt>
                <c:pt idx="13">
                  <c:v>0.41658066735466098</c:v>
                </c:pt>
                <c:pt idx="14">
                  <c:v>0.42500859993120099</c:v>
                </c:pt>
                <c:pt idx="15">
                  <c:v>0.44668042655658802</c:v>
                </c:pt>
                <c:pt idx="16">
                  <c:v>0.49122807017543901</c:v>
                </c:pt>
                <c:pt idx="17">
                  <c:v>0.54420364637082896</c:v>
                </c:pt>
                <c:pt idx="18">
                  <c:v>0.58032335741314101</c:v>
                </c:pt>
                <c:pt idx="19">
                  <c:v>0.59115927072583396</c:v>
                </c:pt>
                <c:pt idx="20">
                  <c:v>0.59236326109391102</c:v>
                </c:pt>
                <c:pt idx="21">
                  <c:v>0.60440316477468203</c:v>
                </c:pt>
                <c:pt idx="22">
                  <c:v>0.64172686618507102</c:v>
                </c:pt>
                <c:pt idx="23">
                  <c:v>0.69470244238046097</c:v>
                </c:pt>
                <c:pt idx="24">
                  <c:v>0.69711042311661497</c:v>
                </c:pt>
                <c:pt idx="25">
                  <c:v>0.74767801857585103</c:v>
                </c:pt>
                <c:pt idx="26">
                  <c:v>0.75369797041623698</c:v>
                </c:pt>
                <c:pt idx="27">
                  <c:v>0.75369797041623698</c:v>
                </c:pt>
                <c:pt idx="28">
                  <c:v>0.74406604747161997</c:v>
                </c:pt>
                <c:pt idx="29">
                  <c:v>0.77777777777777801</c:v>
                </c:pt>
                <c:pt idx="30">
                  <c:v>0.82593739250085996</c:v>
                </c:pt>
                <c:pt idx="31">
                  <c:v>0.88011695906432696</c:v>
                </c:pt>
                <c:pt idx="32">
                  <c:v>0.92948056415548697</c:v>
                </c:pt>
                <c:pt idx="33">
                  <c:v>0.97162022703818396</c:v>
                </c:pt>
                <c:pt idx="34">
                  <c:v>1.0113519091847301</c:v>
                </c:pt>
                <c:pt idx="35">
                  <c:v>1.05228758169935</c:v>
                </c:pt>
                <c:pt idx="36">
                  <c:v>1.09442724458204</c:v>
                </c:pt>
                <c:pt idx="37">
                  <c:v>1.1293429652562801</c:v>
                </c:pt>
                <c:pt idx="38">
                  <c:v>1.1486068111455101</c:v>
                </c:pt>
                <c:pt idx="39">
                  <c:v>1.1630546955624399</c:v>
                </c:pt>
                <c:pt idx="40">
                  <c:v>1.1811145510835901</c:v>
                </c:pt>
                <c:pt idx="41">
                  <c:v>1.1955624355005201</c:v>
                </c:pt>
                <c:pt idx="42">
                  <c:v>1.20639834881321</c:v>
                </c:pt>
                <c:pt idx="43">
                  <c:v>1.2172342621259</c:v>
                </c:pt>
                <c:pt idx="44">
                  <c:v>1.22566219470244</c:v>
                </c:pt>
                <c:pt idx="45">
                  <c:v>1.2292741658066699</c:v>
                </c:pt>
                <c:pt idx="46">
                  <c:v>1.2413140694874401</c:v>
                </c:pt>
                <c:pt idx="47">
                  <c:v>1.2702098383212901</c:v>
                </c:pt>
                <c:pt idx="48">
                  <c:v>1.30512555899553</c:v>
                </c:pt>
                <c:pt idx="49">
                  <c:v>1.3364293085655301</c:v>
                </c:pt>
                <c:pt idx="50">
                  <c:v>1.3653250773993799</c:v>
                </c:pt>
                <c:pt idx="51">
                  <c:v>1.3942208462332299</c:v>
                </c:pt>
                <c:pt idx="52">
                  <c:v>1.41348469212246</c:v>
                </c:pt>
                <c:pt idx="53">
                  <c:v>1.4207086343309301</c:v>
                </c:pt>
                <c:pt idx="54">
                  <c:v>1.4219126246989999</c:v>
                </c:pt>
                <c:pt idx="55">
                  <c:v>1.4219126246989999</c:v>
                </c:pt>
                <c:pt idx="56">
                  <c:v>1.4219126246989999</c:v>
                </c:pt>
                <c:pt idx="57">
                  <c:v>1.4219126246989999</c:v>
                </c:pt>
                <c:pt idx="58">
                  <c:v>1.42432060543516</c:v>
                </c:pt>
                <c:pt idx="59">
                  <c:v>1.44238046095631</c:v>
                </c:pt>
                <c:pt idx="60">
                  <c:v>1.45562435500516</c:v>
                </c:pt>
                <c:pt idx="61">
                  <c:v>1.46044031647747</c:v>
                </c:pt>
                <c:pt idx="62">
                  <c:v>1.46044031647747</c:v>
                </c:pt>
                <c:pt idx="63">
                  <c:v>1.46044031647747</c:v>
                </c:pt>
                <c:pt idx="64">
                  <c:v>1.4592363261093899</c:v>
                </c:pt>
                <c:pt idx="65">
                  <c:v>1.4592363261093899</c:v>
                </c:pt>
                <c:pt idx="66">
                  <c:v>1.4580323357413101</c:v>
                </c:pt>
                <c:pt idx="67">
                  <c:v>1.47127622979016</c:v>
                </c:pt>
                <c:pt idx="68">
                  <c:v>1.50378396972824</c:v>
                </c:pt>
                <c:pt idx="69">
                  <c:v>1.54592363261094</c:v>
                </c:pt>
                <c:pt idx="70">
                  <c:v>1.57843137254902</c:v>
                </c:pt>
                <c:pt idx="71">
                  <c:v>1.59167526659787</c:v>
                </c:pt>
                <c:pt idx="72">
                  <c:v>1.5940832473340201</c:v>
                </c:pt>
                <c:pt idx="73">
                  <c:v>1.60130718954248</c:v>
                </c:pt>
                <c:pt idx="74">
                  <c:v>1.61575507395941</c:v>
                </c:pt>
                <c:pt idx="75">
                  <c:v>1.6265909872721001</c:v>
                </c:pt>
                <c:pt idx="76">
                  <c:v>1.6326109391124899</c:v>
                </c:pt>
                <c:pt idx="77">
                  <c:v>1.63501891984864</c:v>
                </c:pt>
                <c:pt idx="78">
                  <c:v>1.6410388716890301</c:v>
                </c:pt>
                <c:pt idx="79">
                  <c:v>1.65428276573787</c:v>
                </c:pt>
                <c:pt idx="80">
                  <c:v>1.66752665978672</c:v>
                </c:pt>
                <c:pt idx="81">
                  <c:v>1.67354661162711</c:v>
                </c:pt>
                <c:pt idx="82">
                  <c:v>1.6795665634674899</c:v>
                </c:pt>
                <c:pt idx="83">
                  <c:v>1.6940144478844199</c:v>
                </c:pt>
                <c:pt idx="84">
                  <c:v>1.71448228414173</c:v>
                </c:pt>
                <c:pt idx="85">
                  <c:v>1.73856209150327</c:v>
                </c:pt>
                <c:pt idx="86">
                  <c:v>1.75662194702442</c:v>
                </c:pt>
                <c:pt idx="87">
                  <c:v>1.76625386996904</c:v>
                </c:pt>
                <c:pt idx="88">
                  <c:v>1.78070175438596</c:v>
                </c:pt>
                <c:pt idx="89">
                  <c:v>1.80839353285174</c:v>
                </c:pt>
                <c:pt idx="90">
                  <c:v>1.8348813209494299</c:v>
                </c:pt>
                <c:pt idx="91">
                  <c:v>1.8541451668386699</c:v>
                </c:pt>
                <c:pt idx="92">
                  <c:v>1.87822497420021</c:v>
                </c:pt>
                <c:pt idx="93">
                  <c:v>1.9155486756105999</c:v>
                </c:pt>
                <c:pt idx="94">
                  <c:v>1.9613003095975201</c:v>
                </c:pt>
                <c:pt idx="95">
                  <c:v>1.9998280013759899</c:v>
                </c:pt>
                <c:pt idx="96">
                  <c:v>2.0178878568971399</c:v>
                </c:pt>
                <c:pt idx="97">
                  <c:v>2.02511179910561</c:v>
                </c:pt>
                <c:pt idx="98">
                  <c:v>2.0371517027863799</c:v>
                </c:pt>
                <c:pt idx="99">
                  <c:v>2.0540075679394598</c:v>
                </c:pt>
                <c:pt idx="100">
                  <c:v>2.0660474716202302</c:v>
                </c:pt>
                <c:pt idx="101">
                  <c:v>2.0768833849329198</c:v>
                </c:pt>
                <c:pt idx="102">
                  <c:v>2.0913312693498498</c:v>
                </c:pt>
                <c:pt idx="103">
                  <c:v>2.1033711730306202</c:v>
                </c:pt>
                <c:pt idx="104">
                  <c:v>2.1154110767113901</c:v>
                </c:pt>
                <c:pt idx="105">
                  <c:v>2.1418988648090802</c:v>
                </c:pt>
                <c:pt idx="106">
                  <c:v>2.18524251805986</c:v>
                </c:pt>
                <c:pt idx="107">
                  <c:v>2.21775025799794</c:v>
                </c:pt>
                <c:pt idx="108">
                  <c:v>2.21775025799794</c:v>
                </c:pt>
                <c:pt idx="109">
                  <c:v>2.1996904024767798</c:v>
                </c:pt>
                <c:pt idx="110">
                  <c:v>2.2297901616787099</c:v>
                </c:pt>
                <c:pt idx="111">
                  <c:v>2.2767457860337101</c:v>
                </c:pt>
                <c:pt idx="112">
                  <c:v>2.2827657378741</c:v>
                </c:pt>
                <c:pt idx="113">
                  <c:v>2.2948056415548699</c:v>
                </c:pt>
                <c:pt idx="114">
                  <c:v>2.2948056415548699</c:v>
                </c:pt>
                <c:pt idx="115">
                  <c:v>2.2948056415548699</c:v>
                </c:pt>
                <c:pt idx="116">
                  <c:v>2.2948056415548699</c:v>
                </c:pt>
                <c:pt idx="117">
                  <c:v>2.2948056415548699</c:v>
                </c:pt>
                <c:pt idx="118">
                  <c:v>2.28758169934641</c:v>
                </c:pt>
                <c:pt idx="119">
                  <c:v>2.31527347781218</c:v>
                </c:pt>
                <c:pt idx="120">
                  <c:v>2.3658410732714099</c:v>
                </c:pt>
                <c:pt idx="121">
                  <c:v>2.4224286205710399</c:v>
                </c:pt>
                <c:pt idx="122">
                  <c:v>2.4597523219814201</c:v>
                </c:pt>
                <c:pt idx="123">
                  <c:v>2.4742002063983501</c:v>
                </c:pt>
                <c:pt idx="124">
                  <c:v>2.47540419676643</c:v>
                </c:pt>
                <c:pt idx="125">
                  <c:v>2.47540419676643</c:v>
                </c:pt>
                <c:pt idx="126">
                  <c:v>2.47540419676643</c:v>
                </c:pt>
                <c:pt idx="127">
                  <c:v>2.4669762641898898</c:v>
                </c:pt>
                <c:pt idx="128">
                  <c:v>2.4886480908152699</c:v>
                </c:pt>
                <c:pt idx="129">
                  <c:v>2.5331957344341198</c:v>
                </c:pt>
                <c:pt idx="130">
                  <c:v>2.5801513587891298</c:v>
                </c:pt>
                <c:pt idx="131">
                  <c:v>2.61627106983144</c:v>
                </c:pt>
                <c:pt idx="132">
                  <c:v>2.6367389060887501</c:v>
                </c:pt>
                <c:pt idx="133">
                  <c:v>2.7499140006879901</c:v>
                </c:pt>
                <c:pt idx="134">
                  <c:v>2.7655658754729999</c:v>
                </c:pt>
                <c:pt idx="135">
                  <c:v>2.7944616443068502</c:v>
                </c:pt>
                <c:pt idx="136">
                  <c:v>2.8016855865153101</c:v>
                </c:pt>
                <c:pt idx="137">
                  <c:v>2.8028895768833899</c:v>
                </c:pt>
                <c:pt idx="138">
                  <c:v>2.8113175094599199</c:v>
                </c:pt>
                <c:pt idx="139">
                  <c:v>2.8390092879257001</c:v>
                </c:pt>
                <c:pt idx="140">
                  <c:v>2.88476092191262</c:v>
                </c:pt>
                <c:pt idx="141">
                  <c:v>2.9305125558995502</c:v>
                </c:pt>
                <c:pt idx="142">
                  <c:v>2.9630202958376302</c:v>
                </c:pt>
                <c:pt idx="143">
                  <c:v>2.97867217062264</c:v>
                </c:pt>
                <c:pt idx="144">
                  <c:v>2.9810801513587899</c:v>
                </c:pt>
                <c:pt idx="145">
                  <c:v>2.9834881320949398</c:v>
                </c:pt>
                <c:pt idx="146">
                  <c:v>3.0051599587203301</c:v>
                </c:pt>
                <c:pt idx="147">
                  <c:v>3.02442380460956</c:v>
                </c:pt>
                <c:pt idx="148">
                  <c:v>3.0677674578603402</c:v>
                </c:pt>
                <c:pt idx="149">
                  <c:v>3.0677674578603402</c:v>
                </c:pt>
                <c:pt idx="150">
                  <c:v>3.14723082215342</c:v>
                </c:pt>
                <c:pt idx="151">
                  <c:v>3.14723082215342</c:v>
                </c:pt>
                <c:pt idx="152">
                  <c:v>3.1484348125214998</c:v>
                </c:pt>
                <c:pt idx="153">
                  <c:v>3.1604747162022702</c:v>
                </c:pt>
                <c:pt idx="154">
                  <c:v>3.1881664946680401</c:v>
                </c:pt>
                <c:pt idx="155">
                  <c:v>3.2074303405572802</c:v>
                </c:pt>
                <c:pt idx="156">
                  <c:v>3.2134502923976598</c:v>
                </c:pt>
                <c:pt idx="157">
                  <c:v>3.2134502923976598</c:v>
                </c:pt>
                <c:pt idx="158">
                  <c:v>3.2134502923976598</c:v>
                </c:pt>
                <c:pt idx="159">
                  <c:v>3.2110423116615099</c:v>
                </c:pt>
                <c:pt idx="160">
                  <c:v>3.2110423116615099</c:v>
                </c:pt>
                <c:pt idx="161">
                  <c:v>3.2110423116615099</c:v>
                </c:pt>
                <c:pt idx="162">
                  <c:v>3.2110423116615099</c:v>
                </c:pt>
                <c:pt idx="163">
                  <c:v>3.2110423116615099</c:v>
                </c:pt>
                <c:pt idx="164">
                  <c:v>3.2158582731338199</c:v>
                </c:pt>
                <c:pt idx="165">
                  <c:v>3.2507739938080502</c:v>
                </c:pt>
                <c:pt idx="166">
                  <c:v>3.2965256277949799</c:v>
                </c:pt>
                <c:pt idx="167">
                  <c:v>3.3266253869968998</c:v>
                </c:pt>
                <c:pt idx="168">
                  <c:v>3.33505331957344</c:v>
                </c:pt>
                <c:pt idx="169">
                  <c:v>3.3422772617819101</c:v>
                </c:pt>
                <c:pt idx="170">
                  <c:v>3.36756105951152</c:v>
                </c:pt>
                <c:pt idx="171">
                  <c:v>3.40970072239422</c:v>
                </c:pt>
                <c:pt idx="172">
                  <c:v>3.4542483660130698</c:v>
                </c:pt>
                <c:pt idx="173">
                  <c:v>3.5024079807361499</c:v>
                </c:pt>
                <c:pt idx="174">
                  <c:v>3.5517715858273098</c:v>
                </c:pt>
                <c:pt idx="175">
                  <c:v>3.59029927760578</c:v>
                </c:pt>
                <c:pt idx="176">
                  <c:v>3.60835913312693</c:v>
                </c:pt>
                <c:pt idx="177">
                  <c:v>3.61197110423117</c:v>
                </c:pt>
                <c:pt idx="178">
                  <c:v>3.61197110423117</c:v>
                </c:pt>
                <c:pt idx="179">
                  <c:v>3.61197110423117</c:v>
                </c:pt>
                <c:pt idx="180">
                  <c:v>3.60835913312693</c:v>
                </c:pt>
                <c:pt idx="181">
                  <c:v>3.62280701754386</c:v>
                </c:pt>
                <c:pt idx="182">
                  <c:v>3.6625386996903999</c:v>
                </c:pt>
                <c:pt idx="183">
                  <c:v>3.71069831441348</c:v>
                </c:pt>
                <c:pt idx="184">
                  <c:v>3.74320605435156</c:v>
                </c:pt>
                <c:pt idx="185">
                  <c:v>3.75283797729618</c:v>
                </c:pt>
                <c:pt idx="186">
                  <c:v>3.7540419676642598</c:v>
                </c:pt>
                <c:pt idx="187">
                  <c:v>3.7540419676642598</c:v>
                </c:pt>
                <c:pt idx="188">
                  <c:v>3.7540419676642598</c:v>
                </c:pt>
                <c:pt idx="189">
                  <c:v>3.7492260061919498</c:v>
                </c:pt>
                <c:pt idx="190">
                  <c:v>3.7612659098727201</c:v>
                </c:pt>
                <c:pt idx="191">
                  <c:v>3.7696938424492599</c:v>
                </c:pt>
                <c:pt idx="192">
                  <c:v>3.7901616787065699</c:v>
                </c:pt>
                <c:pt idx="193">
                  <c:v>3.8226694186446499</c:v>
                </c:pt>
                <c:pt idx="194">
                  <c:v>3.8407292741658101</c:v>
                </c:pt>
                <c:pt idx="195">
                  <c:v>3.8407292741658101</c:v>
                </c:pt>
                <c:pt idx="196">
                  <c:v>3.8407292741658101</c:v>
                </c:pt>
                <c:pt idx="197">
                  <c:v>3.8961128310973501</c:v>
                </c:pt>
                <c:pt idx="198">
                  <c:v>3.91778465772274</c:v>
                </c:pt>
                <c:pt idx="199">
                  <c:v>3.9201926384588899</c:v>
                </c:pt>
                <c:pt idx="200">
                  <c:v>3.9201926384588899</c:v>
                </c:pt>
                <c:pt idx="201">
                  <c:v>3.9201926384588899</c:v>
                </c:pt>
                <c:pt idx="202">
                  <c:v>3.9298245614035099</c:v>
                </c:pt>
                <c:pt idx="203">
                  <c:v>3.9623323013415899</c:v>
                </c:pt>
                <c:pt idx="204">
                  <c:v>4.00326797385621</c:v>
                </c:pt>
                <c:pt idx="205">
                  <c:v>4.0514275885792896</c:v>
                </c:pt>
                <c:pt idx="206">
                  <c:v>4.1068111455108403</c:v>
                </c:pt>
                <c:pt idx="207">
                  <c:v>4.1537667698658396</c:v>
                </c:pt>
                <c:pt idx="208">
                  <c:v>4.1646026831785301</c:v>
                </c:pt>
                <c:pt idx="209">
                  <c:v>4.1766425868593098</c:v>
                </c:pt>
                <c:pt idx="210">
                  <c:v>4.1766425868593098</c:v>
                </c:pt>
                <c:pt idx="211">
                  <c:v>4.2488820089439301</c:v>
                </c:pt>
                <c:pt idx="212">
                  <c:v>4.2488820089439301</c:v>
                </c:pt>
                <c:pt idx="213">
                  <c:v>4.3343653250773997</c:v>
                </c:pt>
                <c:pt idx="214">
                  <c:v>4.3343653250773997</c:v>
                </c:pt>
                <c:pt idx="215">
                  <c:v>4.3343653250773997</c:v>
                </c:pt>
                <c:pt idx="216">
                  <c:v>4.25128998968008</c:v>
                </c:pt>
                <c:pt idx="217">
                  <c:v>4.25128998968008</c:v>
                </c:pt>
                <c:pt idx="218">
                  <c:v>4.2597179222566197</c:v>
                </c:pt>
                <c:pt idx="219">
                  <c:v>4.3488132094943204</c:v>
                </c:pt>
                <c:pt idx="220">
                  <c:v>4.3548331613347102</c:v>
                </c:pt>
                <c:pt idx="221">
                  <c:v>4.3548331613347102</c:v>
                </c:pt>
                <c:pt idx="222">
                  <c:v>4.3765049879601001</c:v>
                </c:pt>
                <c:pt idx="223">
                  <c:v>4.4234606123151003</c:v>
                </c:pt>
                <c:pt idx="224">
                  <c:v>4.4848641210870301</c:v>
                </c:pt>
                <c:pt idx="225">
                  <c:v>4.4848641210870301</c:v>
                </c:pt>
                <c:pt idx="226">
                  <c:v>4.4668042655658802</c:v>
                </c:pt>
                <c:pt idx="227">
                  <c:v>4.4668042655658802</c:v>
                </c:pt>
                <c:pt idx="228">
                  <c:v>4.4656002751977999</c:v>
                </c:pt>
                <c:pt idx="229">
                  <c:v>4.4656002751977999</c:v>
                </c:pt>
                <c:pt idx="230">
                  <c:v>4.4643962848297196</c:v>
                </c:pt>
                <c:pt idx="231">
                  <c:v>4.4643962848297196</c:v>
                </c:pt>
                <c:pt idx="232">
                  <c:v>4.4643962848297196</c:v>
                </c:pt>
                <c:pt idx="233">
                  <c:v>4.4643962848297196</c:v>
                </c:pt>
                <c:pt idx="234">
                  <c:v>4.4511523907808703</c:v>
                </c:pt>
                <c:pt idx="235">
                  <c:v>4.4848641210870301</c:v>
                </c:pt>
                <c:pt idx="236">
                  <c:v>4.5486756105951196</c:v>
                </c:pt>
                <c:pt idx="237">
                  <c:v>4.5486756105951196</c:v>
                </c:pt>
                <c:pt idx="238">
                  <c:v>4.6136910904712796</c:v>
                </c:pt>
                <c:pt idx="239">
                  <c:v>4.67991056071551</c:v>
                </c:pt>
                <c:pt idx="240">
                  <c:v>4.7425180598555201</c:v>
                </c:pt>
                <c:pt idx="241">
                  <c:v>4.7954936360509102</c:v>
                </c:pt>
                <c:pt idx="242">
                  <c:v>4.8328173374613002</c:v>
                </c:pt>
                <c:pt idx="243">
                  <c:v>4.8460612315101503</c:v>
                </c:pt>
                <c:pt idx="244">
                  <c:v>4.90987272101823</c:v>
                </c:pt>
                <c:pt idx="245">
                  <c:v>4.9724802201582401</c:v>
                </c:pt>
                <c:pt idx="246">
                  <c:v>4.9736842105263204</c:v>
                </c:pt>
                <c:pt idx="247">
                  <c:v>4.9965600275197799</c:v>
                </c:pt>
                <c:pt idx="248">
                  <c:v>5.0447196422428604</c:v>
                </c:pt>
                <c:pt idx="249">
                  <c:v>5.1061231510147902</c:v>
                </c:pt>
                <c:pt idx="250">
                  <c:v>5.1374269005848001</c:v>
                </c:pt>
                <c:pt idx="251">
                  <c:v>5.1615067079463399</c:v>
                </c:pt>
                <c:pt idx="252">
                  <c:v>5.1615067079463399</c:v>
                </c:pt>
                <c:pt idx="253">
                  <c:v>5.1542827657378698</c:v>
                </c:pt>
                <c:pt idx="254">
                  <c:v>5.1542827657378698</c:v>
                </c:pt>
                <c:pt idx="255">
                  <c:v>5.1542827657378698</c:v>
                </c:pt>
                <c:pt idx="256">
                  <c:v>5.1687306501548003</c:v>
                </c:pt>
                <c:pt idx="257">
                  <c:v>5.3108015135878901</c:v>
                </c:pt>
                <c:pt idx="258">
                  <c:v>5.3421052631578902</c:v>
                </c:pt>
                <c:pt idx="259">
                  <c:v>5.3457172342621302</c:v>
                </c:pt>
                <c:pt idx="260">
                  <c:v>5.3457172342621302</c:v>
                </c:pt>
                <c:pt idx="261">
                  <c:v>5.3685930512555897</c:v>
                </c:pt>
                <c:pt idx="262">
                  <c:v>5.4047127622979003</c:v>
                </c:pt>
                <c:pt idx="263">
                  <c:v>5.4697282421740603</c:v>
                </c:pt>
                <c:pt idx="264">
                  <c:v>5.5347437220502202</c:v>
                </c:pt>
                <c:pt idx="265">
                  <c:v>5.5985552115583097</c:v>
                </c:pt>
                <c:pt idx="266">
                  <c:v>5.6563467492260102</c:v>
                </c:pt>
                <c:pt idx="267">
                  <c:v>5.6647746818025499</c:v>
                </c:pt>
                <c:pt idx="268">
                  <c:v>5.7069143446852397</c:v>
                </c:pt>
                <c:pt idx="269">
                  <c:v>5.7069143446852397</c:v>
                </c:pt>
                <c:pt idx="270">
                  <c:v>5.7719298245613997</c:v>
                </c:pt>
                <c:pt idx="271">
                  <c:v>5.8369453044375703</c:v>
                </c:pt>
                <c:pt idx="272">
                  <c:v>5.8995528035775697</c:v>
                </c:pt>
                <c:pt idx="273">
                  <c:v>5.9609563123495004</c:v>
                </c:pt>
                <c:pt idx="274">
                  <c:v>6.0247678018575801</c:v>
                </c:pt>
                <c:pt idx="275">
                  <c:v>6.0416236670106596</c:v>
                </c:pt>
                <c:pt idx="276">
                  <c:v>6.0765393876848997</c:v>
                </c:pt>
                <c:pt idx="277">
                  <c:v>6.1295149638802897</c:v>
                </c:pt>
                <c:pt idx="278">
                  <c:v>6.1933264533883703</c:v>
                </c:pt>
                <c:pt idx="279">
                  <c:v>6.2595459236326096</c:v>
                </c:pt>
                <c:pt idx="280">
                  <c:v>6.3257653938768499</c:v>
                </c:pt>
                <c:pt idx="281">
                  <c:v>6.3907808737530098</c:v>
                </c:pt>
                <c:pt idx="282">
                  <c:v>6.4545923632610904</c:v>
                </c:pt>
                <c:pt idx="283">
                  <c:v>6.4678362573099397</c:v>
                </c:pt>
                <c:pt idx="284">
                  <c:v>6.4678362573099397</c:v>
                </c:pt>
                <c:pt idx="285">
                  <c:v>6.4678362573099397</c:v>
                </c:pt>
                <c:pt idx="286">
                  <c:v>6.4642242862057104</c:v>
                </c:pt>
                <c:pt idx="287">
                  <c:v>6.47746818025455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6CEE-4745-9ECF-ACEF437185DA}"/>
            </c:ext>
          </c:extLst>
        </c:ser>
        <c:ser>
          <c:idx val="1"/>
          <c:order val="1"/>
          <c:tx>
            <c:strRef>
              <c:f>'[ada 2016.xlsx]Sheet8'!$F$4</c:f>
              <c:strCache>
                <c:ptCount val="1"/>
                <c:pt idx="0">
                  <c:v>Empagliflozin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[ada 2016.xlsx]Sheet8'!$G$5:$G$246</c:f>
              <c:numCache>
                <c:formatCode>General</c:formatCode>
                <c:ptCount val="242"/>
                <c:pt idx="0">
                  <c:v>0</c:v>
                </c:pt>
                <c:pt idx="1">
                  <c:v>0.60730365020502097</c:v>
                </c:pt>
                <c:pt idx="2">
                  <c:v>0.83335034418625797</c:v>
                </c:pt>
                <c:pt idx="3">
                  <c:v>1.06358980839299</c:v>
                </c:pt>
                <c:pt idx="4">
                  <c:v>1.28966242367392</c:v>
                </c:pt>
                <c:pt idx="5">
                  <c:v>1.5032215315275901</c:v>
                </c:pt>
                <c:pt idx="6">
                  <c:v>1.7126202707803799</c:v>
                </c:pt>
                <c:pt idx="7">
                  <c:v>1.92619881960882</c:v>
                </c:pt>
                <c:pt idx="8">
                  <c:v>2.1481305072636299</c:v>
                </c:pt>
                <c:pt idx="9">
                  <c:v>2.3742160831944101</c:v>
                </c:pt>
                <c:pt idx="10">
                  <c:v>2.6002757378254899</c:v>
                </c:pt>
                <c:pt idx="11">
                  <c:v>2.8263353924565799</c:v>
                </c:pt>
                <c:pt idx="12">
                  <c:v>3.05238856676274</c:v>
                </c:pt>
                <c:pt idx="13">
                  <c:v>3.2784417410689</c:v>
                </c:pt>
                <c:pt idx="14">
                  <c:v>3.5003539877489498</c:v>
                </c:pt>
                <c:pt idx="15">
                  <c:v>3.7181253068028801</c:v>
                </c:pt>
                <c:pt idx="16">
                  <c:v>3.93590958650667</c:v>
                </c:pt>
                <c:pt idx="17">
                  <c:v>4.1536809055606003</c:v>
                </c:pt>
                <c:pt idx="18">
                  <c:v>4.3714392639647004</c:v>
                </c:pt>
                <c:pt idx="19">
                  <c:v>4.5933709516195096</c:v>
                </c:pt>
                <c:pt idx="20">
                  <c:v>4.8153155999241797</c:v>
                </c:pt>
                <c:pt idx="21">
                  <c:v>5.0330933993030396</c:v>
                </c:pt>
                <c:pt idx="22">
                  <c:v>5.2466654678065598</c:v>
                </c:pt>
                <c:pt idx="23">
                  <c:v>5.4685712341616801</c:v>
                </c:pt>
                <c:pt idx="24">
                  <c:v>5.6863166319159202</c:v>
                </c:pt>
                <c:pt idx="25">
                  <c:v>5.8999275823689796</c:v>
                </c:pt>
                <c:pt idx="26">
                  <c:v>6.1093587232463804</c:v>
                </c:pt>
                <c:pt idx="27">
                  <c:v>6.3229178311000496</c:v>
                </c:pt>
                <c:pt idx="28">
                  <c:v>6.5448235974551796</c:v>
                </c:pt>
                <c:pt idx="29">
                  <c:v>6.7625819558592699</c:v>
                </c:pt>
                <c:pt idx="30">
                  <c:v>6.9720066164117496</c:v>
                </c:pt>
                <c:pt idx="31">
                  <c:v>7.1814247966393001</c:v>
                </c:pt>
                <c:pt idx="32">
                  <c:v>7.3991507534187804</c:v>
                </c:pt>
                <c:pt idx="33">
                  <c:v>7.6252104080498597</c:v>
                </c:pt>
                <c:pt idx="34">
                  <c:v>7.8512959839806404</c:v>
                </c:pt>
                <c:pt idx="35">
                  <c:v>8.0607141642081892</c:v>
                </c:pt>
                <c:pt idx="36">
                  <c:v>8.2576253173334102</c:v>
                </c:pt>
                <c:pt idx="37">
                  <c:v>8.4503242592583607</c:v>
                </c:pt>
                <c:pt idx="38">
                  <c:v>8.6513504187099901</c:v>
                </c:pt>
                <c:pt idx="39">
                  <c:v>8.8691022967891602</c:v>
                </c:pt>
                <c:pt idx="40">
                  <c:v>9.0952332349943994</c:v>
                </c:pt>
                <c:pt idx="41">
                  <c:v>9.3046773365216495</c:v>
                </c:pt>
                <c:pt idx="42">
                  <c:v>9.4514631763636601</c:v>
                </c:pt>
                <c:pt idx="43">
                  <c:v>9.48065055981907</c:v>
                </c:pt>
                <c:pt idx="44">
                  <c:v>9.7067166947750696</c:v>
                </c:pt>
                <c:pt idx="45">
                  <c:v>10.158829523712299</c:v>
                </c:pt>
                <c:pt idx="46">
                  <c:v>10.158829523712299</c:v>
                </c:pt>
                <c:pt idx="47">
                  <c:v>10.3640938156639</c:v>
                </c:pt>
                <c:pt idx="48">
                  <c:v>10.485761916102501</c:v>
                </c:pt>
                <c:pt idx="49">
                  <c:v>10.6283031431196</c:v>
                </c:pt>
                <c:pt idx="50">
                  <c:v>10.820963203094999</c:v>
                </c:pt>
                <c:pt idx="51">
                  <c:v>11.034502869973901</c:v>
                </c:pt>
                <c:pt idx="52">
                  <c:v>11.256415116653899</c:v>
                </c:pt>
                <c:pt idx="53">
                  <c:v>11.474141073433399</c:v>
                </c:pt>
                <c:pt idx="54">
                  <c:v>11.696027398813801</c:v>
                </c:pt>
                <c:pt idx="55">
                  <c:v>11.9262733433454</c:v>
                </c:pt>
                <c:pt idx="56">
                  <c:v>12.148192070350399</c:v>
                </c:pt>
                <c:pt idx="57">
                  <c:v>12.3450967431507</c:v>
                </c:pt>
                <c:pt idx="58">
                  <c:v>12.387050366705401</c:v>
                </c:pt>
                <c:pt idx="59">
                  <c:v>12.4793366739408</c:v>
                </c:pt>
                <c:pt idx="60">
                  <c:v>12.6048346464092</c:v>
                </c:pt>
                <c:pt idx="61">
                  <c:v>13.0361391520171</c:v>
                </c:pt>
                <c:pt idx="62">
                  <c:v>13.0361391520171</c:v>
                </c:pt>
                <c:pt idx="63">
                  <c:v>13.258064359346999</c:v>
                </c:pt>
                <c:pt idx="64">
                  <c:v>13.484195297552199</c:v>
                </c:pt>
                <c:pt idx="65">
                  <c:v>13.676926641101799</c:v>
                </c:pt>
                <c:pt idx="66">
                  <c:v>13.823440307297</c:v>
                </c:pt>
                <c:pt idx="67">
                  <c:v>13.823440307297</c:v>
                </c:pt>
                <c:pt idx="68">
                  <c:v>13.9744124370396</c:v>
                </c:pt>
                <c:pt idx="69">
                  <c:v>14.1796702486663</c:v>
                </c:pt>
                <c:pt idx="70">
                  <c:v>14.4057817458967</c:v>
                </c:pt>
                <c:pt idx="71">
                  <c:v>14.631867321827499</c:v>
                </c:pt>
                <c:pt idx="72">
                  <c:v>14.8537666078577</c:v>
                </c:pt>
                <c:pt idx="73">
                  <c:v>14.8875485416839</c:v>
                </c:pt>
                <c:pt idx="74">
                  <c:v>15.071544407236599</c:v>
                </c:pt>
                <c:pt idx="75">
                  <c:v>15.276821659837999</c:v>
                </c:pt>
                <c:pt idx="76">
                  <c:v>15.4945800182421</c:v>
                </c:pt>
                <c:pt idx="77">
                  <c:v>15.7165246665468</c:v>
                </c:pt>
                <c:pt idx="78">
                  <c:v>15.934302465925599</c:v>
                </c:pt>
                <c:pt idx="79">
                  <c:v>16.139560277552299</c:v>
                </c:pt>
                <c:pt idx="80">
                  <c:v>16.323932001950599</c:v>
                </c:pt>
                <c:pt idx="81">
                  <c:v>16.508284285374099</c:v>
                </c:pt>
                <c:pt idx="82">
                  <c:v>16.709323405475601</c:v>
                </c:pt>
                <c:pt idx="83">
                  <c:v>16.9270947245295</c:v>
                </c:pt>
                <c:pt idx="84">
                  <c:v>17.140692714332701</c:v>
                </c:pt>
                <c:pt idx="85">
                  <c:v>17.3501044142353</c:v>
                </c:pt>
                <c:pt idx="86">
                  <c:v>17.559516114137999</c:v>
                </c:pt>
                <c:pt idx="87">
                  <c:v>17.7647609651148</c:v>
                </c:pt>
                <c:pt idx="88">
                  <c:v>17.978384876217699</c:v>
                </c:pt>
                <c:pt idx="89">
                  <c:v>18.192015267645498</c:v>
                </c:pt>
                <c:pt idx="90">
                  <c:v>18.405632698423499</c:v>
                </c:pt>
                <c:pt idx="91">
                  <c:v>18.623397537152499</c:v>
                </c:pt>
                <c:pt idx="92">
                  <c:v>18.845309783832601</c:v>
                </c:pt>
                <c:pt idx="93">
                  <c:v>19.071375918788601</c:v>
                </c:pt>
                <c:pt idx="94">
                  <c:v>19.297429093094699</c:v>
                </c:pt>
                <c:pt idx="95">
                  <c:v>19.523482267400901</c:v>
                </c:pt>
                <c:pt idx="96">
                  <c:v>19.749548402356901</c:v>
                </c:pt>
                <c:pt idx="97">
                  <c:v>19.971480090011699</c:v>
                </c:pt>
                <c:pt idx="98">
                  <c:v>20.1892578893906</c:v>
                </c:pt>
                <c:pt idx="99">
                  <c:v>20.407035688769401</c:v>
                </c:pt>
                <c:pt idx="100">
                  <c:v>20.628980337074101</c:v>
                </c:pt>
                <c:pt idx="101">
                  <c:v>20.8508861034292</c:v>
                </c:pt>
                <c:pt idx="102">
                  <c:v>21.076945758060301</c:v>
                </c:pt>
                <c:pt idx="103">
                  <c:v>21.302998932366499</c:v>
                </c:pt>
                <c:pt idx="104">
                  <c:v>21.5290780279723</c:v>
                </c:pt>
                <c:pt idx="105">
                  <c:v>21.7510032353022</c:v>
                </c:pt>
                <c:pt idx="106">
                  <c:v>21.964549382506</c:v>
                </c:pt>
                <c:pt idx="107">
                  <c:v>22.186429227561501</c:v>
                </c:pt>
                <c:pt idx="108">
                  <c:v>22.412488882192601</c:v>
                </c:pt>
                <c:pt idx="109">
                  <c:v>22.6344011288726</c:v>
                </c:pt>
                <c:pt idx="110">
                  <c:v>22.852172447926499</c:v>
                </c:pt>
                <c:pt idx="111">
                  <c:v>23.061597108478999</c:v>
                </c:pt>
                <c:pt idx="112">
                  <c:v>23.254315491378701</c:v>
                </c:pt>
                <c:pt idx="113">
                  <c:v>23.442879986002499</c:v>
                </c:pt>
                <c:pt idx="114">
                  <c:v>23.639791139127698</c:v>
                </c:pt>
                <c:pt idx="115">
                  <c:v>23.8492093193553</c:v>
                </c:pt>
                <c:pt idx="116">
                  <c:v>24.0711539676599</c:v>
                </c:pt>
                <c:pt idx="117">
                  <c:v>24.284764918113002</c:v>
                </c:pt>
                <c:pt idx="118">
                  <c:v>24.481676071238201</c:v>
                </c:pt>
                <c:pt idx="119">
                  <c:v>24.678548342413901</c:v>
                </c:pt>
                <c:pt idx="120">
                  <c:v>24.8879406013418</c:v>
                </c:pt>
                <c:pt idx="121">
                  <c:v>25.105718400720601</c:v>
                </c:pt>
                <c:pt idx="122">
                  <c:v>25.302629553845801</c:v>
                </c:pt>
                <c:pt idx="123">
                  <c:v>25.4032236376332</c:v>
                </c:pt>
                <c:pt idx="124">
                  <c:v>25.449415393687801</c:v>
                </c:pt>
                <c:pt idx="125">
                  <c:v>25.625161805612901</c:v>
                </c:pt>
                <c:pt idx="126">
                  <c:v>25.838558905343501</c:v>
                </c:pt>
                <c:pt idx="127">
                  <c:v>25.838558905343501</c:v>
                </c:pt>
                <c:pt idx="128">
                  <c:v>26.006250273388702</c:v>
                </c:pt>
                <c:pt idx="129">
                  <c:v>26.2323034476949</c:v>
                </c:pt>
                <c:pt idx="130">
                  <c:v>26.458363102325901</c:v>
                </c:pt>
                <c:pt idx="131">
                  <c:v>26.684422756957002</c:v>
                </c:pt>
                <c:pt idx="132">
                  <c:v>26.910482411588099</c:v>
                </c:pt>
                <c:pt idx="133">
                  <c:v>27.136542066219199</c:v>
                </c:pt>
                <c:pt idx="134">
                  <c:v>27.362595240525401</c:v>
                </c:pt>
                <c:pt idx="135">
                  <c:v>27.592834704732098</c:v>
                </c:pt>
                <c:pt idx="136">
                  <c:v>27.810573622161399</c:v>
                </c:pt>
                <c:pt idx="137">
                  <c:v>28.007452373662002</c:v>
                </c:pt>
                <c:pt idx="138">
                  <c:v>28.187611886860001</c:v>
                </c:pt>
                <c:pt idx="139">
                  <c:v>28.359411780906701</c:v>
                </c:pt>
                <c:pt idx="140">
                  <c:v>28.535417405828699</c:v>
                </c:pt>
                <c:pt idx="141">
                  <c:v>28.707262662149901</c:v>
                </c:pt>
                <c:pt idx="142">
                  <c:v>28.849771487542402</c:v>
                </c:pt>
                <c:pt idx="143">
                  <c:v>28.854048501991901</c:v>
                </c:pt>
                <c:pt idx="144">
                  <c:v>29.075850583148199</c:v>
                </c:pt>
                <c:pt idx="145">
                  <c:v>29.297762829828301</c:v>
                </c:pt>
                <c:pt idx="146">
                  <c:v>29.507142128106299</c:v>
                </c:pt>
                <c:pt idx="147">
                  <c:v>29.925952567261699</c:v>
                </c:pt>
                <c:pt idx="148">
                  <c:v>29.925952567261699</c:v>
                </c:pt>
                <c:pt idx="149">
                  <c:v>30.122857240062</c:v>
                </c:pt>
                <c:pt idx="150">
                  <c:v>30.319774873512198</c:v>
                </c:pt>
                <c:pt idx="151">
                  <c:v>30.529186573414801</c:v>
                </c:pt>
                <c:pt idx="152">
                  <c:v>30.755246228045898</c:v>
                </c:pt>
                <c:pt idx="153">
                  <c:v>30.9813188433268</c:v>
                </c:pt>
                <c:pt idx="154">
                  <c:v>31.194890911830299</c:v>
                </c:pt>
                <c:pt idx="155">
                  <c:v>31.400083920207798</c:v>
                </c:pt>
                <c:pt idx="156">
                  <c:v>31.6094632184858</c:v>
                </c:pt>
                <c:pt idx="157">
                  <c:v>31.806341969986399</c:v>
                </c:pt>
                <c:pt idx="158">
                  <c:v>31.961448547030098</c:v>
                </c:pt>
                <c:pt idx="159">
                  <c:v>32.099855326746102</c:v>
                </c:pt>
                <c:pt idx="160">
                  <c:v>32.250801535188998</c:v>
                </c:pt>
                <c:pt idx="161">
                  <c:v>32.405927553207498</c:v>
                </c:pt>
                <c:pt idx="162">
                  <c:v>32.561053571226097</c:v>
                </c:pt>
                <c:pt idx="163">
                  <c:v>32.732905307872102</c:v>
                </c:pt>
                <c:pt idx="164">
                  <c:v>32.933989790248098</c:v>
                </c:pt>
                <c:pt idx="165">
                  <c:v>33.155914997578002</c:v>
                </c:pt>
                <c:pt idx="166">
                  <c:v>33.3819876128589</c:v>
                </c:pt>
                <c:pt idx="167">
                  <c:v>33.603899859538998</c:v>
                </c:pt>
                <c:pt idx="168">
                  <c:v>33.8216776589178</c:v>
                </c:pt>
                <c:pt idx="169">
                  <c:v>34.022762141293803</c:v>
                </c:pt>
                <c:pt idx="170">
                  <c:v>34.198800167840403</c:v>
                </c:pt>
                <c:pt idx="171">
                  <c:v>34.358125436409402</c:v>
                </c:pt>
                <c:pt idx="172">
                  <c:v>34.521604593254303</c:v>
                </c:pt>
                <c:pt idx="173">
                  <c:v>34.718496305404798</c:v>
                </c:pt>
                <c:pt idx="174">
                  <c:v>34.932107255857801</c:v>
                </c:pt>
                <c:pt idx="175">
                  <c:v>35.112286210030597</c:v>
                </c:pt>
                <c:pt idx="176">
                  <c:v>35.263245379123298</c:v>
                </c:pt>
                <c:pt idx="177">
                  <c:v>35.426731016293203</c:v>
                </c:pt>
                <c:pt idx="178">
                  <c:v>35.619404036918397</c:v>
                </c:pt>
                <c:pt idx="179">
                  <c:v>35.837104072398198</c:v>
                </c:pt>
                <c:pt idx="180">
                  <c:v>36.058977437128704</c:v>
                </c:pt>
                <c:pt idx="181">
                  <c:v>36.268356735406698</c:v>
                </c:pt>
                <c:pt idx="182">
                  <c:v>36.465248447557201</c:v>
                </c:pt>
                <c:pt idx="183">
                  <c:v>36.637087223553401</c:v>
                </c:pt>
                <c:pt idx="184">
                  <c:v>36.775494003269301</c:v>
                </c:pt>
                <c:pt idx="185">
                  <c:v>36.888828405856302</c:v>
                </c:pt>
                <c:pt idx="186">
                  <c:v>37.332400166544403</c:v>
                </c:pt>
                <c:pt idx="187">
                  <c:v>37.4290023701788</c:v>
                </c:pt>
                <c:pt idx="188">
                  <c:v>37.617547423827801</c:v>
                </c:pt>
                <c:pt idx="189">
                  <c:v>37.843652440733401</c:v>
                </c:pt>
                <c:pt idx="190">
                  <c:v>38.069712095364501</c:v>
                </c:pt>
                <c:pt idx="191">
                  <c:v>38.295765269670603</c:v>
                </c:pt>
                <c:pt idx="192">
                  <c:v>38.517683996675601</c:v>
                </c:pt>
                <c:pt idx="193">
                  <c:v>38.735435874754799</c:v>
                </c:pt>
                <c:pt idx="194">
                  <c:v>38.957341641109899</c:v>
                </c:pt>
                <c:pt idx="195">
                  <c:v>39.187594065966501</c:v>
                </c:pt>
                <c:pt idx="196">
                  <c:v>39.401153173820099</c:v>
                </c:pt>
                <c:pt idx="197">
                  <c:v>39.577158798742197</c:v>
                </c:pt>
                <c:pt idx="198">
                  <c:v>39.740637955587097</c:v>
                </c:pt>
                <c:pt idx="199">
                  <c:v>39.924957837386003</c:v>
                </c:pt>
                <c:pt idx="200">
                  <c:v>40.130137885113598</c:v>
                </c:pt>
                <c:pt idx="201">
                  <c:v>40.335343854140802</c:v>
                </c:pt>
                <c:pt idx="202">
                  <c:v>40.540588705117699</c:v>
                </c:pt>
                <c:pt idx="203">
                  <c:v>40.750039286969901</c:v>
                </c:pt>
                <c:pt idx="204">
                  <c:v>40.9594704278473</c:v>
                </c:pt>
                <c:pt idx="205">
                  <c:v>41.181402115502102</c:v>
                </c:pt>
                <c:pt idx="206">
                  <c:v>41.407474730783001</c:v>
                </c:pt>
                <c:pt idx="207">
                  <c:v>41.641887524240502</c:v>
                </c:pt>
                <c:pt idx="208">
                  <c:v>41.8763197586727</c:v>
                </c:pt>
                <c:pt idx="209">
                  <c:v>42.077358878774199</c:v>
                </c:pt>
                <c:pt idx="210">
                  <c:v>42.1780566477603</c:v>
                </c:pt>
                <c:pt idx="211">
                  <c:v>42.186506991460497</c:v>
                </c:pt>
                <c:pt idx="212">
                  <c:v>42.404155184340901</c:v>
                </c:pt>
                <c:pt idx="213">
                  <c:v>42.630214838972002</c:v>
                </c:pt>
                <c:pt idx="214">
                  <c:v>42.856274493603102</c:v>
                </c:pt>
                <c:pt idx="215">
                  <c:v>43.082334148234203</c:v>
                </c:pt>
                <c:pt idx="216">
                  <c:v>43.388101799424199</c:v>
                </c:pt>
                <c:pt idx="217">
                  <c:v>43.388101799424199</c:v>
                </c:pt>
                <c:pt idx="218">
                  <c:v>43.308419724164999</c:v>
                </c:pt>
                <c:pt idx="219">
                  <c:v>44.250710810640001</c:v>
                </c:pt>
                <c:pt idx="220">
                  <c:v>44.250710810640001</c:v>
                </c:pt>
                <c:pt idx="221">
                  <c:v>44.250710810640001</c:v>
                </c:pt>
                <c:pt idx="222">
                  <c:v>44.250710810640001</c:v>
                </c:pt>
                <c:pt idx="223">
                  <c:v>43.5725253664219</c:v>
                </c:pt>
                <c:pt idx="224">
                  <c:v>44.476770465271102</c:v>
                </c:pt>
                <c:pt idx="225">
                  <c:v>44.702830119902202</c:v>
                </c:pt>
                <c:pt idx="226">
                  <c:v>44.928883294208397</c:v>
                </c:pt>
                <c:pt idx="227">
                  <c:v>45.154942948839498</c:v>
                </c:pt>
                <c:pt idx="228">
                  <c:v>45.385188893371101</c:v>
                </c:pt>
                <c:pt idx="229">
                  <c:v>45.5778683943213</c:v>
                </c:pt>
                <c:pt idx="230">
                  <c:v>45.716249252737498</c:v>
                </c:pt>
                <c:pt idx="231">
                  <c:v>45.842077721777002</c:v>
                </c:pt>
                <c:pt idx="232">
                  <c:v>45.842077721777002</c:v>
                </c:pt>
                <c:pt idx="233">
                  <c:v>46.068137376408103</c:v>
                </c:pt>
                <c:pt idx="234">
                  <c:v>46.294203511364103</c:v>
                </c:pt>
                <c:pt idx="235">
                  <c:v>46.520263165995097</c:v>
                </c:pt>
                <c:pt idx="236">
                  <c:v>46.972382475257298</c:v>
                </c:pt>
                <c:pt idx="237">
                  <c:v>46.972382475257298</c:v>
                </c:pt>
                <c:pt idx="238">
                  <c:v>47.198442129888399</c:v>
                </c:pt>
                <c:pt idx="239">
                  <c:v>47.424501784519499</c:v>
                </c:pt>
                <c:pt idx="240">
                  <c:v>47.6505614391506</c:v>
                </c:pt>
                <c:pt idx="241">
                  <c:v>47.876614613456702</c:v>
                </c:pt>
              </c:numCache>
            </c:numRef>
          </c:xVal>
          <c:yVal>
            <c:numRef>
              <c:f>'[ada 2016.xlsx]Sheet8'!$I$5:$I$246</c:f>
              <c:numCache>
                <c:formatCode>General</c:formatCode>
                <c:ptCount val="242"/>
                <c:pt idx="0">
                  <c:v>0</c:v>
                </c:pt>
                <c:pt idx="1">
                  <c:v>5.41795665634675E-2</c:v>
                </c:pt>
                <c:pt idx="2">
                  <c:v>5.41795665634675E-2</c:v>
                </c:pt>
                <c:pt idx="3">
                  <c:v>5.41795665634675E-2</c:v>
                </c:pt>
                <c:pt idx="4">
                  <c:v>5.2975576195390402E-2</c:v>
                </c:pt>
                <c:pt idx="5">
                  <c:v>6.3811489508083893E-2</c:v>
                </c:pt>
                <c:pt idx="6">
                  <c:v>7.9463364293085703E-2</c:v>
                </c:pt>
                <c:pt idx="7">
                  <c:v>9.3911248710010303E-2</c:v>
                </c:pt>
                <c:pt idx="8">
                  <c:v>0.104747162022704</c:v>
                </c:pt>
                <c:pt idx="9">
                  <c:v>0.109563123495012</c:v>
                </c:pt>
                <c:pt idx="10">
                  <c:v>0.109563123495012</c:v>
                </c:pt>
                <c:pt idx="11">
                  <c:v>0.109563123495012</c:v>
                </c:pt>
                <c:pt idx="12">
                  <c:v>0.109563123495012</c:v>
                </c:pt>
                <c:pt idx="13">
                  <c:v>0.109563123495012</c:v>
                </c:pt>
                <c:pt idx="14">
                  <c:v>0.11437908496731999</c:v>
                </c:pt>
                <c:pt idx="15">
                  <c:v>0.13003095975232201</c:v>
                </c:pt>
                <c:pt idx="16">
                  <c:v>0.148090815273478</c:v>
                </c:pt>
                <c:pt idx="17">
                  <c:v>0.16374269005847999</c:v>
                </c:pt>
                <c:pt idx="18">
                  <c:v>0.17698658410732701</c:v>
                </c:pt>
                <c:pt idx="19">
                  <c:v>0.187822497420021</c:v>
                </c:pt>
                <c:pt idx="20">
                  <c:v>0.20106639146886801</c:v>
                </c:pt>
                <c:pt idx="21">
                  <c:v>0.217922256621947</c:v>
                </c:pt>
                <c:pt idx="22">
                  <c:v>0.23116615067079499</c:v>
                </c:pt>
                <c:pt idx="23">
                  <c:v>0.23718610251118</c:v>
                </c:pt>
                <c:pt idx="24">
                  <c:v>0.24802201582387301</c:v>
                </c:pt>
                <c:pt idx="25">
                  <c:v>0.26848985208118298</c:v>
                </c:pt>
                <c:pt idx="26">
                  <c:v>0.29016167870657</c:v>
                </c:pt>
                <c:pt idx="27">
                  <c:v>0.30099759201926402</c:v>
                </c:pt>
                <c:pt idx="28">
                  <c:v>0.30701754385964902</c:v>
                </c:pt>
                <c:pt idx="29">
                  <c:v>0.32026143790849698</c:v>
                </c:pt>
                <c:pt idx="30">
                  <c:v>0.34072927416580701</c:v>
                </c:pt>
                <c:pt idx="31">
                  <c:v>0.35999312005503997</c:v>
                </c:pt>
                <c:pt idx="32">
                  <c:v>0.36721706226350198</c:v>
                </c:pt>
                <c:pt idx="33">
                  <c:v>0.36721706226350198</c:v>
                </c:pt>
                <c:pt idx="34">
                  <c:v>0.37203302373580999</c:v>
                </c:pt>
                <c:pt idx="35">
                  <c:v>0.39129686962504301</c:v>
                </c:pt>
                <c:pt idx="36">
                  <c:v>0.42019263845889199</c:v>
                </c:pt>
                <c:pt idx="37">
                  <c:v>0.44427244582043302</c:v>
                </c:pt>
                <c:pt idx="38">
                  <c:v>0.45992432060543498</c:v>
                </c:pt>
                <c:pt idx="39">
                  <c:v>0.47196422428620599</c:v>
                </c:pt>
                <c:pt idx="40">
                  <c:v>0.48520811833505301</c:v>
                </c:pt>
                <c:pt idx="41">
                  <c:v>0.50928792569659398</c:v>
                </c:pt>
                <c:pt idx="42">
                  <c:v>0.55865153078775398</c:v>
                </c:pt>
                <c:pt idx="43">
                  <c:v>0.55865153078775398</c:v>
                </c:pt>
                <c:pt idx="44">
                  <c:v>0.53818369453044401</c:v>
                </c:pt>
                <c:pt idx="45">
                  <c:v>0.53818369453044401</c:v>
                </c:pt>
                <c:pt idx="46">
                  <c:v>0.53818369453044401</c:v>
                </c:pt>
                <c:pt idx="47">
                  <c:v>0.56226350189198504</c:v>
                </c:pt>
                <c:pt idx="48">
                  <c:v>0.61162710698314404</c:v>
                </c:pt>
                <c:pt idx="49">
                  <c:v>0.65015479876160998</c:v>
                </c:pt>
                <c:pt idx="50">
                  <c:v>0.66701066391468899</c:v>
                </c:pt>
                <c:pt idx="51">
                  <c:v>0.674234606123151</c:v>
                </c:pt>
                <c:pt idx="52">
                  <c:v>0.68145854833161301</c:v>
                </c:pt>
                <c:pt idx="53">
                  <c:v>0.68868249054007602</c:v>
                </c:pt>
                <c:pt idx="54">
                  <c:v>0.69109047127623002</c:v>
                </c:pt>
                <c:pt idx="55">
                  <c:v>0.69109047127623002</c:v>
                </c:pt>
                <c:pt idx="56">
                  <c:v>0.69951840385276898</c:v>
                </c:pt>
                <c:pt idx="57">
                  <c:v>0.72721018231854095</c:v>
                </c:pt>
                <c:pt idx="58">
                  <c:v>0.74406604747161997</c:v>
                </c:pt>
                <c:pt idx="59">
                  <c:v>0.77898176814585496</c:v>
                </c:pt>
                <c:pt idx="60">
                  <c:v>0.77898176814585496</c:v>
                </c:pt>
                <c:pt idx="61">
                  <c:v>0.78379772961816296</c:v>
                </c:pt>
                <c:pt idx="62">
                  <c:v>0.78379772961816296</c:v>
                </c:pt>
                <c:pt idx="63">
                  <c:v>0.79342965256277997</c:v>
                </c:pt>
                <c:pt idx="64">
                  <c:v>0.80667354661162705</c:v>
                </c:pt>
                <c:pt idx="65">
                  <c:v>0.83677330581355402</c:v>
                </c:pt>
                <c:pt idx="66">
                  <c:v>0.83677330581355402</c:v>
                </c:pt>
                <c:pt idx="67">
                  <c:v>0.89095287237702103</c:v>
                </c:pt>
                <c:pt idx="68">
                  <c:v>0.89095287237702103</c:v>
                </c:pt>
                <c:pt idx="69">
                  <c:v>0.909012727898177</c:v>
                </c:pt>
                <c:pt idx="70">
                  <c:v>0.91864465084279301</c:v>
                </c:pt>
                <c:pt idx="71">
                  <c:v>0.92346061231510201</c:v>
                </c:pt>
                <c:pt idx="72">
                  <c:v>0.92827657378741002</c:v>
                </c:pt>
                <c:pt idx="73">
                  <c:v>0.98245614035087703</c:v>
                </c:pt>
                <c:pt idx="74">
                  <c:v>0.98245614035087703</c:v>
                </c:pt>
                <c:pt idx="75">
                  <c:v>0.97282421740626102</c:v>
                </c:pt>
                <c:pt idx="76">
                  <c:v>0.98606811145510798</c:v>
                </c:pt>
                <c:pt idx="77">
                  <c:v>0.99931200550395605</c:v>
                </c:pt>
                <c:pt idx="78">
                  <c:v>1.0161678706570301</c:v>
                </c:pt>
                <c:pt idx="79">
                  <c:v>1.0402476780185801</c:v>
                </c:pt>
                <c:pt idx="80">
                  <c:v>1.0727554179566601</c:v>
                </c:pt>
                <c:pt idx="81">
                  <c:v>1.1016511867905101</c:v>
                </c:pt>
                <c:pt idx="82">
                  <c:v>1.1197110423116601</c:v>
                </c:pt>
                <c:pt idx="83">
                  <c:v>1.1353629170966599</c:v>
                </c:pt>
                <c:pt idx="84">
                  <c:v>1.1534227726178199</c:v>
                </c:pt>
                <c:pt idx="85">
                  <c:v>1.1714826281389701</c:v>
                </c:pt>
                <c:pt idx="86">
                  <c:v>1.18954248366013</c:v>
                </c:pt>
                <c:pt idx="87">
                  <c:v>1.21121431028552</c:v>
                </c:pt>
                <c:pt idx="88">
                  <c:v>1.2340901272789799</c:v>
                </c:pt>
                <c:pt idx="89">
                  <c:v>1.25816993464052</c:v>
                </c:pt>
                <c:pt idx="90">
                  <c:v>1.2798417612659101</c:v>
                </c:pt>
                <c:pt idx="91">
                  <c:v>1.2942896456828299</c:v>
                </c:pt>
                <c:pt idx="92">
                  <c:v>1.3015135878913</c:v>
                </c:pt>
                <c:pt idx="93">
                  <c:v>1.3027175782593701</c:v>
                </c:pt>
                <c:pt idx="94">
                  <c:v>1.3027175782593701</c:v>
                </c:pt>
                <c:pt idx="95">
                  <c:v>1.3027175782593701</c:v>
                </c:pt>
                <c:pt idx="96">
                  <c:v>1.3015135878913</c:v>
                </c:pt>
                <c:pt idx="97">
                  <c:v>1.3123495012039901</c:v>
                </c:pt>
                <c:pt idx="98">
                  <c:v>1.32920536635707</c:v>
                </c:pt>
                <c:pt idx="99">
                  <c:v>1.3460612315101499</c:v>
                </c:pt>
                <c:pt idx="100">
                  <c:v>1.3593051255590001</c:v>
                </c:pt>
                <c:pt idx="101">
                  <c:v>1.3653250773993799</c:v>
                </c:pt>
                <c:pt idx="102">
                  <c:v>1.3653250773993799</c:v>
                </c:pt>
                <c:pt idx="103">
                  <c:v>1.3653250773993799</c:v>
                </c:pt>
                <c:pt idx="104">
                  <c:v>1.36773305813553</c:v>
                </c:pt>
                <c:pt idx="105">
                  <c:v>1.37736498108015</c:v>
                </c:pt>
                <c:pt idx="106">
                  <c:v>1.38579291365669</c:v>
                </c:pt>
                <c:pt idx="107">
                  <c:v>1.38699690402477</c:v>
                </c:pt>
                <c:pt idx="108">
                  <c:v>1.38699690402477</c:v>
                </c:pt>
                <c:pt idx="109">
                  <c:v>1.3942208462332299</c:v>
                </c:pt>
                <c:pt idx="110">
                  <c:v>1.40987272101823</c:v>
                </c:pt>
                <c:pt idx="111">
                  <c:v>1.4303405572755401</c:v>
                </c:pt>
                <c:pt idx="112">
                  <c:v>1.4580323357413101</c:v>
                </c:pt>
                <c:pt idx="113">
                  <c:v>1.4917440660474699</c:v>
                </c:pt>
                <c:pt idx="114">
                  <c:v>1.5206398348813199</c:v>
                </c:pt>
                <c:pt idx="115">
                  <c:v>1.53990368077055</c:v>
                </c:pt>
                <c:pt idx="116">
                  <c:v>1.5531475748193999</c:v>
                </c:pt>
                <c:pt idx="117">
                  <c:v>1.57361541107671</c:v>
                </c:pt>
                <c:pt idx="118">
                  <c:v>1.60251117991056</c:v>
                </c:pt>
                <c:pt idx="119">
                  <c:v>1.6241830065359499</c:v>
                </c:pt>
                <c:pt idx="120">
                  <c:v>1.63863089095287</c:v>
                </c:pt>
                <c:pt idx="121">
                  <c:v>1.6554867561059501</c:v>
                </c:pt>
                <c:pt idx="122">
                  <c:v>1.6843825249397999</c:v>
                </c:pt>
                <c:pt idx="123">
                  <c:v>1.7072583419332601</c:v>
                </c:pt>
                <c:pt idx="124">
                  <c:v>1.73374613003096</c:v>
                </c:pt>
                <c:pt idx="125">
                  <c:v>1.73374613003096</c:v>
                </c:pt>
                <c:pt idx="126">
                  <c:v>1.73374613003096</c:v>
                </c:pt>
                <c:pt idx="127">
                  <c:v>1.7770897832817301</c:v>
                </c:pt>
                <c:pt idx="128">
                  <c:v>1.7770897832817301</c:v>
                </c:pt>
                <c:pt idx="129">
                  <c:v>1.7770897832817301</c:v>
                </c:pt>
                <c:pt idx="130">
                  <c:v>1.74337805297558</c:v>
                </c:pt>
                <c:pt idx="131">
                  <c:v>1.74337805297558</c:v>
                </c:pt>
                <c:pt idx="132">
                  <c:v>1.74337805297558</c:v>
                </c:pt>
                <c:pt idx="133">
                  <c:v>1.74337805297558</c:v>
                </c:pt>
                <c:pt idx="134">
                  <c:v>1.74337805297558</c:v>
                </c:pt>
                <c:pt idx="135">
                  <c:v>1.74337805297558</c:v>
                </c:pt>
                <c:pt idx="136">
                  <c:v>1.7506019951840399</c:v>
                </c:pt>
                <c:pt idx="137">
                  <c:v>1.7734778121774999</c:v>
                </c:pt>
                <c:pt idx="138">
                  <c:v>1.8011695906432701</c:v>
                </c:pt>
                <c:pt idx="139">
                  <c:v>1.8312693498452</c:v>
                </c:pt>
                <c:pt idx="140">
                  <c:v>1.86498108015136</c:v>
                </c:pt>
                <c:pt idx="141">
                  <c:v>1.90350877192982</c:v>
                </c:pt>
                <c:pt idx="142">
                  <c:v>1.93601651186791</c:v>
                </c:pt>
                <c:pt idx="143">
                  <c:v>1.9528723770209799</c:v>
                </c:pt>
                <c:pt idx="144">
                  <c:v>1.9528723770209799</c:v>
                </c:pt>
                <c:pt idx="145">
                  <c:v>1.9468524251806001</c:v>
                </c:pt>
                <c:pt idx="146">
                  <c:v>1.95889232886137</c:v>
                </c:pt>
                <c:pt idx="147">
                  <c:v>1.99260405916753</c:v>
                </c:pt>
                <c:pt idx="148">
                  <c:v>1.99260405916753</c:v>
                </c:pt>
                <c:pt idx="149">
                  <c:v>2.0202958376333</c:v>
                </c:pt>
                <c:pt idx="150">
                  <c:v>2.0503955968352301</c:v>
                </c:pt>
                <c:pt idx="151">
                  <c:v>2.0684554523563801</c:v>
                </c:pt>
                <c:pt idx="152">
                  <c:v>2.0684554523563801</c:v>
                </c:pt>
                <c:pt idx="153">
                  <c:v>2.0708634330925402</c:v>
                </c:pt>
                <c:pt idx="154">
                  <c:v>2.0841073271413801</c:v>
                </c:pt>
                <c:pt idx="155">
                  <c:v>2.09614723082215</c:v>
                </c:pt>
                <c:pt idx="156">
                  <c:v>2.1081871345029199</c:v>
                </c:pt>
                <c:pt idx="157">
                  <c:v>2.1310629514963901</c:v>
                </c:pt>
                <c:pt idx="158">
                  <c:v>2.17079463364293</c:v>
                </c:pt>
                <c:pt idx="159">
                  <c:v>2.2189542483660101</c:v>
                </c:pt>
                <c:pt idx="160">
                  <c:v>2.26350189198486</c:v>
                </c:pt>
                <c:pt idx="161">
                  <c:v>2.3068455452356398</c:v>
                </c:pt>
                <c:pt idx="162">
                  <c:v>2.3501891984864098</c:v>
                </c:pt>
                <c:pt idx="163">
                  <c:v>2.3899208806329502</c:v>
                </c:pt>
                <c:pt idx="164">
                  <c:v>2.4164086687306501</c:v>
                </c:pt>
                <c:pt idx="165">
                  <c:v>2.4260405916752701</c:v>
                </c:pt>
                <c:pt idx="166">
                  <c:v>2.42844857241142</c:v>
                </c:pt>
                <c:pt idx="167">
                  <c:v>2.4356725146198799</c:v>
                </c:pt>
                <c:pt idx="168">
                  <c:v>2.4525283797729598</c:v>
                </c:pt>
                <c:pt idx="169">
                  <c:v>2.4790161678706601</c:v>
                </c:pt>
                <c:pt idx="170">
                  <c:v>2.5187478500172</c:v>
                </c:pt>
                <c:pt idx="171">
                  <c:v>2.5644994840041302</c:v>
                </c:pt>
                <c:pt idx="172">
                  <c:v>2.6042311661506701</c:v>
                </c:pt>
                <c:pt idx="173">
                  <c:v>2.6295149638802902</c:v>
                </c:pt>
                <c:pt idx="174">
                  <c:v>2.6499828001375998</c:v>
                </c:pt>
                <c:pt idx="175">
                  <c:v>2.6812865497075999</c:v>
                </c:pt>
                <c:pt idx="176">
                  <c:v>2.7282421740626099</c:v>
                </c:pt>
                <c:pt idx="177">
                  <c:v>2.7691778465772301</c:v>
                </c:pt>
                <c:pt idx="178">
                  <c:v>2.7884416924664599</c:v>
                </c:pt>
                <c:pt idx="179">
                  <c:v>2.7908496732026098</c:v>
                </c:pt>
                <c:pt idx="180">
                  <c:v>2.7908496732026098</c:v>
                </c:pt>
                <c:pt idx="181">
                  <c:v>2.8028895768833899</c:v>
                </c:pt>
                <c:pt idx="182">
                  <c:v>2.8281733746129998</c:v>
                </c:pt>
                <c:pt idx="183">
                  <c:v>2.8654970760233902</c:v>
                </c:pt>
                <c:pt idx="184">
                  <c:v>2.9136566907464698</c:v>
                </c:pt>
                <c:pt idx="185">
                  <c:v>2.9702442380460998</c:v>
                </c:pt>
                <c:pt idx="186">
                  <c:v>2.9702442380460998</c:v>
                </c:pt>
                <c:pt idx="187">
                  <c:v>2.99673202614379</c:v>
                </c:pt>
                <c:pt idx="188">
                  <c:v>3.0268317853457201</c:v>
                </c:pt>
                <c:pt idx="189">
                  <c:v>3.0352597179222598</c:v>
                </c:pt>
                <c:pt idx="190">
                  <c:v>3.0352597179222598</c:v>
                </c:pt>
                <c:pt idx="191">
                  <c:v>3.0352597179222598</c:v>
                </c:pt>
                <c:pt idx="192">
                  <c:v>3.0424836601307201</c:v>
                </c:pt>
                <c:pt idx="193">
                  <c:v>3.05452356381149</c:v>
                </c:pt>
                <c:pt idx="194">
                  <c:v>3.0605435156518799</c:v>
                </c:pt>
                <c:pt idx="195">
                  <c:v>3.0617475060199499</c:v>
                </c:pt>
                <c:pt idx="196">
                  <c:v>3.0725834193326498</c:v>
                </c:pt>
                <c:pt idx="197">
                  <c:v>3.1062951496387998</c:v>
                </c:pt>
                <c:pt idx="198">
                  <c:v>3.1460268317853499</c:v>
                </c:pt>
                <c:pt idx="199">
                  <c:v>3.1689026487788099</c:v>
                </c:pt>
                <c:pt idx="200">
                  <c:v>3.1785345717234299</c:v>
                </c:pt>
                <c:pt idx="201">
                  <c:v>3.1929824561403501</c:v>
                </c:pt>
                <c:pt idx="202">
                  <c:v>3.2146542827657401</c:v>
                </c:pt>
                <c:pt idx="203">
                  <c:v>3.2399380804953601</c:v>
                </c:pt>
                <c:pt idx="204">
                  <c:v>3.2616099071207398</c:v>
                </c:pt>
                <c:pt idx="205">
                  <c:v>3.2724458204334401</c:v>
                </c:pt>
                <c:pt idx="206">
                  <c:v>3.27485380116959</c:v>
                </c:pt>
                <c:pt idx="207">
                  <c:v>3.27485380116959</c:v>
                </c:pt>
                <c:pt idx="208">
                  <c:v>3.2712418300653598</c:v>
                </c:pt>
                <c:pt idx="209">
                  <c:v>3.28930168558652</c:v>
                </c:pt>
                <c:pt idx="210">
                  <c:v>3.3314413484692098</c:v>
                </c:pt>
                <c:pt idx="211">
                  <c:v>3.3458892328861398</c:v>
                </c:pt>
                <c:pt idx="212">
                  <c:v>3.3458892328861398</c:v>
                </c:pt>
                <c:pt idx="213">
                  <c:v>3.3386652906776701</c:v>
                </c:pt>
                <c:pt idx="214">
                  <c:v>3.3386652906776701</c:v>
                </c:pt>
                <c:pt idx="215">
                  <c:v>3.3386652906776701</c:v>
                </c:pt>
                <c:pt idx="216">
                  <c:v>3.3699690402476801</c:v>
                </c:pt>
                <c:pt idx="217">
                  <c:v>3.3699690402476801</c:v>
                </c:pt>
                <c:pt idx="218">
                  <c:v>3.3434812521499802</c:v>
                </c:pt>
                <c:pt idx="219">
                  <c:v>3.4133126934984501</c:v>
                </c:pt>
                <c:pt idx="220">
                  <c:v>3.4133126934984501</c:v>
                </c:pt>
                <c:pt idx="221">
                  <c:v>3.4133126934984501</c:v>
                </c:pt>
                <c:pt idx="222">
                  <c:v>3.4265565875472999</c:v>
                </c:pt>
                <c:pt idx="223">
                  <c:v>3.4265565875472999</c:v>
                </c:pt>
                <c:pt idx="224">
                  <c:v>3.4133126934984501</c:v>
                </c:pt>
                <c:pt idx="225">
                  <c:v>3.4133126934984501</c:v>
                </c:pt>
                <c:pt idx="226">
                  <c:v>3.4133126934984501</c:v>
                </c:pt>
                <c:pt idx="227">
                  <c:v>3.4121087031303801</c:v>
                </c:pt>
                <c:pt idx="228">
                  <c:v>3.4121087031303801</c:v>
                </c:pt>
                <c:pt idx="229">
                  <c:v>3.4325765393876799</c:v>
                </c:pt>
                <c:pt idx="230">
                  <c:v>3.4759201926384602</c:v>
                </c:pt>
                <c:pt idx="231">
                  <c:v>3.5204678362573101</c:v>
                </c:pt>
                <c:pt idx="232">
                  <c:v>3.53732370141039</c:v>
                </c:pt>
                <c:pt idx="233">
                  <c:v>3.53732370141039</c:v>
                </c:pt>
                <c:pt idx="234">
                  <c:v>3.5216718266253899</c:v>
                </c:pt>
                <c:pt idx="235">
                  <c:v>3.5216718266253899</c:v>
                </c:pt>
                <c:pt idx="236">
                  <c:v>3.5216718266253899</c:v>
                </c:pt>
                <c:pt idx="237">
                  <c:v>3.5216718266253899</c:v>
                </c:pt>
                <c:pt idx="238">
                  <c:v>3.5216718266253899</c:v>
                </c:pt>
                <c:pt idx="239">
                  <c:v>3.5216718266253899</c:v>
                </c:pt>
                <c:pt idx="240">
                  <c:v>3.5216718266253899</c:v>
                </c:pt>
                <c:pt idx="241">
                  <c:v>3.52167182662538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6CEE-4745-9ECF-ACEF437185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5738568"/>
        <c:axId val="545738896"/>
      </c:scatterChart>
      <c:valAx>
        <c:axId val="545738568"/>
        <c:scaling>
          <c:orientation val="minMax"/>
          <c:max val="54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недель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5738896"/>
        <c:crosses val="autoZero"/>
        <c:crossBetween val="midCat"/>
        <c:majorUnit val="6"/>
      </c:valAx>
      <c:valAx>
        <c:axId val="54573889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%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57385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1942800756152049"/>
          <c:y val="0.64743947617663167"/>
          <c:w val="0.55093153980752418"/>
          <c:h val="0.112246513878502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/>
      </a:pPr>
      <a:endParaRPr lang="ru-RU"/>
    </a:p>
  </c:txPr>
  <c:externalData r:id="rId4">
    <c:autoUpdate val="0"/>
  </c:externalData>
  <c:userShapes r:id="rId5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901159230096238"/>
          <c:y val="3.3509600323093247E-2"/>
          <c:w val="0.8495161854768154"/>
          <c:h val="0.60646893296991722"/>
        </c:manualLayout>
      </c:layout>
      <c:scatterChart>
        <c:scatterStyle val="lineMarker"/>
        <c:varyColors val="0"/>
        <c:ser>
          <c:idx val="0"/>
          <c:order val="0"/>
          <c:tx>
            <c:strRef>
              <c:f>'[ada 2016.xlsx]Sheet10'!$A$4</c:f>
              <c:strCache>
                <c:ptCount val="1"/>
                <c:pt idx="0">
                  <c:v>Placebo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[ada 2016.xlsx]Sheet10'!$A$5:$A$99</c:f>
              <c:numCache>
                <c:formatCode>General</c:formatCode>
                <c:ptCount val="95"/>
                <c:pt idx="0">
                  <c:v>1.00094825809112</c:v>
                </c:pt>
                <c:pt idx="1">
                  <c:v>1.49942121370693</c:v>
                </c:pt>
                <c:pt idx="2">
                  <c:v>2.0021185164042299</c:v>
                </c:pt>
                <c:pt idx="3">
                  <c:v>2.5005217005217002</c:v>
                </c:pt>
                <c:pt idx="4">
                  <c:v>3.00323803180946</c:v>
                </c:pt>
                <c:pt idx="5">
                  <c:v>3.5015270443841899</c:v>
                </c:pt>
                <c:pt idx="6">
                  <c:v>4.0000507429078898</c:v>
                </c:pt>
                <c:pt idx="7">
                  <c:v>4.4983016983016997</c:v>
                </c:pt>
                <c:pt idx="8">
                  <c:v>4.99664145378431</c:v>
                </c:pt>
                <c:pt idx="9">
                  <c:v>5.4991167562596104</c:v>
                </c:pt>
                <c:pt idx="10">
                  <c:v>5.9975389689675396</c:v>
                </c:pt>
                <c:pt idx="11">
                  <c:v>6.4999888999889004</c:v>
                </c:pt>
                <c:pt idx="12">
                  <c:v>6.9983793983793996</c:v>
                </c:pt>
                <c:pt idx="13">
                  <c:v>7.50077224362939</c:v>
                </c:pt>
                <c:pt idx="14">
                  <c:v>7.9990422276136597</c:v>
                </c:pt>
                <c:pt idx="15">
                  <c:v>8.4972297543726096</c:v>
                </c:pt>
                <c:pt idx="16">
                  <c:v>8.9998001998002</c:v>
                </c:pt>
                <c:pt idx="17">
                  <c:v>9.4980511551940108</c:v>
                </c:pt>
                <c:pt idx="18">
                  <c:v>10.0004757147614</c:v>
                </c:pt>
                <c:pt idx="19">
                  <c:v>10.4991199276914</c:v>
                </c:pt>
                <c:pt idx="20">
                  <c:v>11.0017982017982</c:v>
                </c:pt>
                <c:pt idx="21">
                  <c:v>11.5001633287348</c:v>
                </c:pt>
                <c:pt idx="22">
                  <c:v>12.003196803196801</c:v>
                </c:pt>
                <c:pt idx="23">
                  <c:v>12.5014667871811</c:v>
                </c:pt>
                <c:pt idx="24">
                  <c:v>12.9996352853496</c:v>
                </c:pt>
                <c:pt idx="25">
                  <c:v>13.502212073640599</c:v>
                </c:pt>
                <c:pt idx="26">
                  <c:v>14.000666000666</c:v>
                </c:pt>
                <c:pt idx="27">
                  <c:v>14.499151642008799</c:v>
                </c:pt>
                <c:pt idx="28">
                  <c:v>14.9977641406213</c:v>
                </c:pt>
                <c:pt idx="29">
                  <c:v>15.500455100455101</c:v>
                </c:pt>
                <c:pt idx="30">
                  <c:v>15.998750455893299</c:v>
                </c:pt>
                <c:pt idx="31">
                  <c:v>16.497324897324901</c:v>
                </c:pt>
                <c:pt idx="32">
                  <c:v>17.000130028701498</c:v>
                </c:pt>
                <c:pt idx="33">
                  <c:v>17.498679098679101</c:v>
                </c:pt>
                <c:pt idx="34">
                  <c:v>18.001630115915798</c:v>
                </c:pt>
                <c:pt idx="35">
                  <c:v>18.500255300255301</c:v>
                </c:pt>
                <c:pt idx="36">
                  <c:v>19.002819402819402</c:v>
                </c:pt>
                <c:pt idx="37">
                  <c:v>19.501254301254299</c:v>
                </c:pt>
                <c:pt idx="38">
                  <c:v>19.999651142508299</c:v>
                </c:pt>
                <c:pt idx="39">
                  <c:v>20.497927469356</c:v>
                </c:pt>
                <c:pt idx="40">
                  <c:v>21.0007135721421</c:v>
                </c:pt>
                <c:pt idx="41">
                  <c:v>21.4992118992119</c:v>
                </c:pt>
                <c:pt idx="42">
                  <c:v>21.997786340643501</c:v>
                </c:pt>
                <c:pt idx="43">
                  <c:v>22.500426557569401</c:v>
                </c:pt>
                <c:pt idx="44">
                  <c:v>22.999108827680299</c:v>
                </c:pt>
                <c:pt idx="45">
                  <c:v>23.501546072974602</c:v>
                </c:pt>
                <c:pt idx="46">
                  <c:v>24.000057085771399</c:v>
                </c:pt>
                <c:pt idx="47">
                  <c:v>24.498301698301699</c:v>
                </c:pt>
                <c:pt idx="48">
                  <c:v>25.000916543773702</c:v>
                </c:pt>
                <c:pt idx="49">
                  <c:v>25.499262642119799</c:v>
                </c:pt>
                <c:pt idx="50">
                  <c:v>26.001737944595099</c:v>
                </c:pt>
                <c:pt idx="51">
                  <c:v>26.5006422149279</c:v>
                </c:pt>
                <c:pt idx="52">
                  <c:v>26.999502085216399</c:v>
                </c:pt>
                <c:pt idx="53">
                  <c:v>27.4980004122861</c:v>
                </c:pt>
                <c:pt idx="54">
                  <c:v>28.0004122861266</c:v>
                </c:pt>
                <c:pt idx="55">
                  <c:v>28.4988979274694</c:v>
                </c:pt>
                <c:pt idx="56">
                  <c:v>29.001563515849199</c:v>
                </c:pt>
                <c:pt idx="57">
                  <c:v>29.499820814106499</c:v>
                </c:pt>
                <c:pt idx="58">
                  <c:v>29.998287426858901</c:v>
                </c:pt>
                <c:pt idx="59">
                  <c:v>30.500845186559499</c:v>
                </c:pt>
                <c:pt idx="60">
                  <c:v>30.9990327133184</c:v>
                </c:pt>
                <c:pt idx="61">
                  <c:v>31.501533387247701</c:v>
                </c:pt>
                <c:pt idx="62">
                  <c:v>31.999752628324099</c:v>
                </c:pt>
                <c:pt idx="63">
                  <c:v>32.498453927025402</c:v>
                </c:pt>
                <c:pt idx="64">
                  <c:v>33.0012780869924</c:v>
                </c:pt>
                <c:pt idx="65">
                  <c:v>33.500061842919003</c:v>
                </c:pt>
                <c:pt idx="66">
                  <c:v>33.998610912896602</c:v>
                </c:pt>
                <c:pt idx="67">
                  <c:v>34.497052154195003</c:v>
                </c:pt>
                <c:pt idx="68">
                  <c:v>34.999616256759097</c:v>
                </c:pt>
                <c:pt idx="69">
                  <c:v>35.497829154972003</c:v>
                </c:pt>
                <c:pt idx="70">
                  <c:v>36.0003171431743</c:v>
                </c:pt>
                <c:pt idx="71">
                  <c:v>36.498720327291799</c:v>
                </c:pt>
                <c:pt idx="72">
                  <c:v>37.001500087214403</c:v>
                </c:pt>
                <c:pt idx="73">
                  <c:v>37.500055500055502</c:v>
                </c:pt>
                <c:pt idx="74">
                  <c:v>37.998515769944298</c:v>
                </c:pt>
                <c:pt idx="75">
                  <c:v>38.501403358546199</c:v>
                </c:pt>
                <c:pt idx="76">
                  <c:v>38.999679685394</c:v>
                </c:pt>
                <c:pt idx="77">
                  <c:v>39.502110587824902</c:v>
                </c:pt>
                <c:pt idx="78">
                  <c:v>40.000545486259803</c:v>
                </c:pt>
                <c:pt idx="79">
                  <c:v>40.499544899544901</c:v>
                </c:pt>
                <c:pt idx="80">
                  <c:v>41.002210487924799</c:v>
                </c:pt>
                <c:pt idx="81">
                  <c:v>41.501146472575002</c:v>
                </c:pt>
                <c:pt idx="82">
                  <c:v>41.999568685283002</c:v>
                </c:pt>
                <c:pt idx="83">
                  <c:v>42.498200212485898</c:v>
                </c:pt>
                <c:pt idx="84">
                  <c:v>43.000751629323098</c:v>
                </c:pt>
                <c:pt idx="85">
                  <c:v>43.498920127491601</c:v>
                </c:pt>
                <c:pt idx="86">
                  <c:v>43.997107654250499</c:v>
                </c:pt>
                <c:pt idx="87">
                  <c:v>44.500090385804697</c:v>
                </c:pt>
                <c:pt idx="88">
                  <c:v>44.998931227502702</c:v>
                </c:pt>
                <c:pt idx="89">
                  <c:v>45.502465788180103</c:v>
                </c:pt>
                <c:pt idx="90">
                  <c:v>45.997526283240603</c:v>
                </c:pt>
                <c:pt idx="91">
                  <c:v>46.500204557347402</c:v>
                </c:pt>
                <c:pt idx="92">
                  <c:v>47.000415457558297</c:v>
                </c:pt>
                <c:pt idx="93">
                  <c:v>47.4991992134849</c:v>
                </c:pt>
                <c:pt idx="94">
                  <c:v>47.998921713207402</c:v>
                </c:pt>
              </c:numCache>
            </c:numRef>
          </c:xVal>
          <c:yVal>
            <c:numRef>
              <c:f>'[ada 2016.xlsx]Sheet10'!$B$5:$B$99</c:f>
              <c:numCache>
                <c:formatCode>General</c:formatCode>
                <c:ptCount val="95"/>
                <c:pt idx="0">
                  <c:v>0.169191919191919</c:v>
                </c:pt>
                <c:pt idx="1">
                  <c:v>0.29040404040404</c:v>
                </c:pt>
                <c:pt idx="2">
                  <c:v>0.42676767676767702</c:v>
                </c:pt>
                <c:pt idx="3">
                  <c:v>0.52020202020202</c:v>
                </c:pt>
                <c:pt idx="4">
                  <c:v>0.66414141414141403</c:v>
                </c:pt>
                <c:pt idx="5">
                  <c:v>0.71212121212121204</c:v>
                </c:pt>
                <c:pt idx="6">
                  <c:v>0.85353535353535404</c:v>
                </c:pt>
                <c:pt idx="7">
                  <c:v>0.88636363636363602</c:v>
                </c:pt>
                <c:pt idx="8">
                  <c:v>0.95454545454545403</c:v>
                </c:pt>
                <c:pt idx="9">
                  <c:v>1.0025252525252499</c:v>
                </c:pt>
                <c:pt idx="10">
                  <c:v>1.10353535353535</c:v>
                </c:pt>
                <c:pt idx="11">
                  <c:v>1.1414141414141401</c:v>
                </c:pt>
                <c:pt idx="12">
                  <c:v>1.2297979797979799</c:v>
                </c:pt>
                <c:pt idx="13">
                  <c:v>1.2449494949494999</c:v>
                </c:pt>
                <c:pt idx="14">
                  <c:v>1.2853535353535399</c:v>
                </c:pt>
                <c:pt idx="15">
                  <c:v>1.2929292929292899</c:v>
                </c:pt>
                <c:pt idx="16">
                  <c:v>1.37878787878788</c:v>
                </c:pt>
                <c:pt idx="17">
                  <c:v>1.41161616161616</c:v>
                </c:pt>
                <c:pt idx="18">
                  <c:v>1.4393939393939399</c:v>
                </c:pt>
                <c:pt idx="19">
                  <c:v>1.62878787878788</c:v>
                </c:pt>
                <c:pt idx="20">
                  <c:v>1.75757575757576</c:v>
                </c:pt>
                <c:pt idx="21">
                  <c:v>1.8358585858585901</c:v>
                </c:pt>
                <c:pt idx="22">
                  <c:v>2.10606060606061</c:v>
                </c:pt>
                <c:pt idx="23">
                  <c:v>2.1464646464646502</c:v>
                </c:pt>
                <c:pt idx="24">
                  <c:v>2.1464646464646502</c:v>
                </c:pt>
                <c:pt idx="25">
                  <c:v>2.23484848484848</c:v>
                </c:pt>
                <c:pt idx="26">
                  <c:v>2.34848484848485</c:v>
                </c:pt>
                <c:pt idx="27">
                  <c:v>2.47474747474747</c:v>
                </c:pt>
                <c:pt idx="28">
                  <c:v>2.65151515151515</c:v>
                </c:pt>
                <c:pt idx="29">
                  <c:v>2.7853535353535399</c:v>
                </c:pt>
                <c:pt idx="30">
                  <c:v>2.8358585858585901</c:v>
                </c:pt>
                <c:pt idx="31">
                  <c:v>2.9974747474747501</c:v>
                </c:pt>
                <c:pt idx="32">
                  <c:v>3.17676767676768</c:v>
                </c:pt>
                <c:pt idx="33">
                  <c:v>3.3282828282828301</c:v>
                </c:pt>
                <c:pt idx="34">
                  <c:v>3.5656565656565702</c:v>
                </c:pt>
                <c:pt idx="35">
                  <c:v>3.7474747474747501</c:v>
                </c:pt>
                <c:pt idx="36">
                  <c:v>3.83080808080808</c:v>
                </c:pt>
                <c:pt idx="37">
                  <c:v>3.93686868686869</c:v>
                </c:pt>
                <c:pt idx="38">
                  <c:v>4.0277777777777803</c:v>
                </c:pt>
                <c:pt idx="39">
                  <c:v>4.0707070707070701</c:v>
                </c:pt>
                <c:pt idx="40">
                  <c:v>4.2424242424242404</c:v>
                </c:pt>
                <c:pt idx="41">
                  <c:v>4.3737373737373701</c:v>
                </c:pt>
                <c:pt idx="42">
                  <c:v>4.5353535353535399</c:v>
                </c:pt>
                <c:pt idx="43">
                  <c:v>4.6489898989898997</c:v>
                </c:pt>
                <c:pt idx="44">
                  <c:v>4.8535353535353503</c:v>
                </c:pt>
                <c:pt idx="45">
                  <c:v>4.8863636363636402</c:v>
                </c:pt>
                <c:pt idx="46">
                  <c:v>5.0227272727272698</c:v>
                </c:pt>
                <c:pt idx="47">
                  <c:v>5.0530303030303001</c:v>
                </c:pt>
                <c:pt idx="48">
                  <c:v>5.1565656565656601</c:v>
                </c:pt>
                <c:pt idx="49">
                  <c:v>5.2272727272727302</c:v>
                </c:pt>
                <c:pt idx="50">
                  <c:v>5.2752525252525304</c:v>
                </c:pt>
                <c:pt idx="51">
                  <c:v>5.5681818181818201</c:v>
                </c:pt>
                <c:pt idx="52">
                  <c:v>5.8434343434343399</c:v>
                </c:pt>
                <c:pt idx="53">
                  <c:v>5.9747474747474696</c:v>
                </c:pt>
                <c:pt idx="54">
                  <c:v>5.9974747474747501</c:v>
                </c:pt>
                <c:pt idx="55">
                  <c:v>6.1237373737373701</c:v>
                </c:pt>
                <c:pt idx="56">
                  <c:v>6.2474747474747501</c:v>
                </c:pt>
                <c:pt idx="57">
                  <c:v>6.2828282828282802</c:v>
                </c:pt>
                <c:pt idx="58">
                  <c:v>6.4015151515151496</c:v>
                </c:pt>
                <c:pt idx="59">
                  <c:v>6.48232323232323</c:v>
                </c:pt>
                <c:pt idx="60">
                  <c:v>6.4898989898989896</c:v>
                </c:pt>
                <c:pt idx="61">
                  <c:v>6.5479797979798002</c:v>
                </c:pt>
                <c:pt idx="62">
                  <c:v>6.5681818181818201</c:v>
                </c:pt>
                <c:pt idx="63">
                  <c:v>6.7803030303030303</c:v>
                </c:pt>
                <c:pt idx="64">
                  <c:v>6.9671717171717198</c:v>
                </c:pt>
                <c:pt idx="65">
                  <c:v>7.2121212121212102</c:v>
                </c:pt>
                <c:pt idx="66">
                  <c:v>7.3636363636363598</c:v>
                </c:pt>
                <c:pt idx="67">
                  <c:v>7.4722222222222197</c:v>
                </c:pt>
                <c:pt idx="68">
                  <c:v>7.55555555555555</c:v>
                </c:pt>
                <c:pt idx="69">
                  <c:v>7.57323232323232</c:v>
                </c:pt>
                <c:pt idx="70">
                  <c:v>7.6262626262626299</c:v>
                </c:pt>
                <c:pt idx="71">
                  <c:v>7.7196969696969697</c:v>
                </c:pt>
                <c:pt idx="72">
                  <c:v>7.8888888888888902</c:v>
                </c:pt>
                <c:pt idx="73">
                  <c:v>8.0429292929292906</c:v>
                </c:pt>
                <c:pt idx="74">
                  <c:v>8.1590909090909101</c:v>
                </c:pt>
                <c:pt idx="75">
                  <c:v>8.3712121212121193</c:v>
                </c:pt>
                <c:pt idx="76">
                  <c:v>8.4141414141414206</c:v>
                </c:pt>
                <c:pt idx="77">
                  <c:v>8.4444444444444393</c:v>
                </c:pt>
                <c:pt idx="78">
                  <c:v>8.5505050505050502</c:v>
                </c:pt>
                <c:pt idx="79">
                  <c:v>8.8813131313131297</c:v>
                </c:pt>
                <c:pt idx="80">
                  <c:v>9.0050505050505105</c:v>
                </c:pt>
                <c:pt idx="81">
                  <c:v>9.3106060606060606</c:v>
                </c:pt>
                <c:pt idx="82">
                  <c:v>9.4116161616161609</c:v>
                </c:pt>
                <c:pt idx="83">
                  <c:v>9.5959595959596005</c:v>
                </c:pt>
                <c:pt idx="84">
                  <c:v>9.6742424242424203</c:v>
                </c:pt>
                <c:pt idx="85">
                  <c:v>9.6742424242424203</c:v>
                </c:pt>
                <c:pt idx="86">
                  <c:v>9.6818181818181799</c:v>
                </c:pt>
                <c:pt idx="87">
                  <c:v>9.9318181818181799</c:v>
                </c:pt>
                <c:pt idx="88">
                  <c:v>10.199494949495</c:v>
                </c:pt>
                <c:pt idx="89">
                  <c:v>10.669191919191899</c:v>
                </c:pt>
                <c:pt idx="90">
                  <c:v>11.098484848484899</c:v>
                </c:pt>
                <c:pt idx="91">
                  <c:v>11.2272727272727</c:v>
                </c:pt>
                <c:pt idx="92">
                  <c:v>12.040404040404001</c:v>
                </c:pt>
                <c:pt idx="93">
                  <c:v>12.285353535353501</c:v>
                </c:pt>
                <c:pt idx="94">
                  <c:v>12.904040404040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06EA-4506-8C73-382F3D0E1C1F}"/>
            </c:ext>
          </c:extLst>
        </c:ser>
        <c:ser>
          <c:idx val="1"/>
          <c:order val="1"/>
          <c:tx>
            <c:strRef>
              <c:f>'[ada 2016.xlsx]Sheet10'!$F$4</c:f>
              <c:strCache>
                <c:ptCount val="1"/>
                <c:pt idx="0">
                  <c:v>Empagliflizin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[ada 2016.xlsx]Sheet10'!$F$5:$F$100</c:f>
              <c:numCache>
                <c:formatCode>General</c:formatCode>
                <c:ptCount val="96"/>
                <c:pt idx="0">
                  <c:v>1.0007072292786601</c:v>
                </c:pt>
                <c:pt idx="1">
                  <c:v>1.4989454989455</c:v>
                </c:pt>
                <c:pt idx="2">
                  <c:v>1.95952618809762</c:v>
                </c:pt>
                <c:pt idx="3">
                  <c:v>2.0014144585573201</c:v>
                </c:pt>
                <c:pt idx="4">
                  <c:v>2.4997034711320398</c:v>
                </c:pt>
                <c:pt idx="5">
                  <c:v>3.5005692719978398</c:v>
                </c:pt>
                <c:pt idx="6">
                  <c:v>3.9989217132074302</c:v>
                </c:pt>
                <c:pt idx="7">
                  <c:v>4.5014667871810703</c:v>
                </c:pt>
                <c:pt idx="8">
                  <c:v>4.99973677116534</c:v>
                </c:pt>
                <c:pt idx="9">
                  <c:v>5.5022628165485301</c:v>
                </c:pt>
                <c:pt idx="10">
                  <c:v>6.00046302903446</c:v>
                </c:pt>
                <c:pt idx="11">
                  <c:v>6.50291296005582</c:v>
                </c:pt>
                <c:pt idx="12">
                  <c:v>6.89658912516055</c:v>
                </c:pt>
                <c:pt idx="13">
                  <c:v>7.0013542013542001</c:v>
                </c:pt>
                <c:pt idx="14">
                  <c:v>7.4996495567924102</c:v>
                </c:pt>
                <c:pt idx="15">
                  <c:v>8.0021375449946905</c:v>
                </c:pt>
                <c:pt idx="16">
                  <c:v>8.5004519290233596</c:v>
                </c:pt>
                <c:pt idx="17">
                  <c:v>8.99901368472797</c:v>
                </c:pt>
                <c:pt idx="18">
                  <c:v>9.4973851545280095</c:v>
                </c:pt>
                <c:pt idx="19">
                  <c:v>9.9998858284572592</c:v>
                </c:pt>
                <c:pt idx="20">
                  <c:v>10.498174841032</c:v>
                </c:pt>
                <c:pt idx="21">
                  <c:v>10.9964194535623</c:v>
                </c:pt>
                <c:pt idx="22">
                  <c:v>11.498939156082001</c:v>
                </c:pt>
                <c:pt idx="23">
                  <c:v>11.997348683063001</c:v>
                </c:pt>
                <c:pt idx="24">
                  <c:v>12.499893757036601</c:v>
                </c:pt>
                <c:pt idx="25">
                  <c:v>12.9982081410653</c:v>
                </c:pt>
                <c:pt idx="26">
                  <c:v>13.5007468721754</c:v>
                </c:pt>
                <c:pt idx="27">
                  <c:v>13.999137370565901</c:v>
                </c:pt>
                <c:pt idx="28">
                  <c:v>14.501777587491899</c:v>
                </c:pt>
                <c:pt idx="29">
                  <c:v>15.000142714428399</c:v>
                </c:pt>
                <c:pt idx="30">
                  <c:v>15.4986410414982</c:v>
                </c:pt>
                <c:pt idx="31">
                  <c:v>16.001262229833699</c:v>
                </c:pt>
                <c:pt idx="32">
                  <c:v>16.499652728224198</c:v>
                </c:pt>
                <c:pt idx="33">
                  <c:v>17.002216830788299</c:v>
                </c:pt>
                <c:pt idx="34">
                  <c:v>17.500493157636001</c:v>
                </c:pt>
                <c:pt idx="35">
                  <c:v>18.0030382316097</c:v>
                </c:pt>
                <c:pt idx="36">
                  <c:v>18.501257472686</c:v>
                </c:pt>
                <c:pt idx="37">
                  <c:v>18.999508428079899</c:v>
                </c:pt>
                <c:pt idx="38">
                  <c:v>19.5019203019203</c:v>
                </c:pt>
                <c:pt idx="39">
                  <c:v>20.000260057402901</c:v>
                </c:pt>
                <c:pt idx="40">
                  <c:v>20.502665588379902</c:v>
                </c:pt>
                <c:pt idx="41">
                  <c:v>20.9968951683237</c:v>
                </c:pt>
                <c:pt idx="42">
                  <c:v>21.499427556570399</c:v>
                </c:pt>
                <c:pt idx="43">
                  <c:v>21.9976911976912</c:v>
                </c:pt>
                <c:pt idx="44">
                  <c:v>22.500141128712599</c:v>
                </c:pt>
                <c:pt idx="45">
                  <c:v>22.998531627103102</c:v>
                </c:pt>
                <c:pt idx="46">
                  <c:v>23.496991896991901</c:v>
                </c:pt>
                <c:pt idx="47">
                  <c:v>23.999619428190901</c:v>
                </c:pt>
                <c:pt idx="48">
                  <c:v>24.498136783851098</c:v>
                </c:pt>
                <c:pt idx="49">
                  <c:v>25.000745286459601</c:v>
                </c:pt>
                <c:pt idx="50">
                  <c:v>25.4993641279356</c:v>
                </c:pt>
                <c:pt idx="51">
                  <c:v>26.0018965161822</c:v>
                </c:pt>
                <c:pt idx="52">
                  <c:v>26.5001538144395</c:v>
                </c:pt>
                <c:pt idx="53">
                  <c:v>26.998683855826702</c:v>
                </c:pt>
                <c:pt idx="54">
                  <c:v>27.501412872841399</c:v>
                </c:pt>
                <c:pt idx="55">
                  <c:v>27.999771656914501</c:v>
                </c:pt>
                <c:pt idx="56">
                  <c:v>28.5023865023865</c:v>
                </c:pt>
                <c:pt idx="57">
                  <c:v>29.000764315049999</c:v>
                </c:pt>
                <c:pt idx="58">
                  <c:v>29.4992880135737</c:v>
                </c:pt>
                <c:pt idx="59">
                  <c:v>29.997786340643501</c:v>
                </c:pt>
                <c:pt idx="60">
                  <c:v>30.5004011861155</c:v>
                </c:pt>
                <c:pt idx="61">
                  <c:v>30.9990517419089</c:v>
                </c:pt>
                <c:pt idx="62">
                  <c:v>31.4972138972139</c:v>
                </c:pt>
                <c:pt idx="63">
                  <c:v>31.999828742685899</c:v>
                </c:pt>
                <c:pt idx="64">
                  <c:v>32.498225583939899</c:v>
                </c:pt>
                <c:pt idx="65">
                  <c:v>33.000821400821401</c:v>
                </c:pt>
                <c:pt idx="66">
                  <c:v>33.499085041942202</c:v>
                </c:pt>
                <c:pt idx="67">
                  <c:v>34.001496915782603</c:v>
                </c:pt>
                <c:pt idx="68">
                  <c:v>34.499919128490603</c:v>
                </c:pt>
                <c:pt idx="69">
                  <c:v>34.998436484150801</c:v>
                </c:pt>
                <c:pt idx="70">
                  <c:v>35.500975215260901</c:v>
                </c:pt>
                <c:pt idx="71">
                  <c:v>35.999397427968901</c:v>
                </c:pt>
                <c:pt idx="72">
                  <c:v>36.501853701853697</c:v>
                </c:pt>
                <c:pt idx="73">
                  <c:v>37.000250543107697</c:v>
                </c:pt>
                <c:pt idx="74">
                  <c:v>37.502611674040203</c:v>
                </c:pt>
                <c:pt idx="75">
                  <c:v>38.000964115249801</c:v>
                </c:pt>
                <c:pt idx="76">
                  <c:v>38.5036550750836</c:v>
                </c:pt>
                <c:pt idx="77">
                  <c:v>39.002039230610698</c:v>
                </c:pt>
                <c:pt idx="78">
                  <c:v>39.496421039278196</c:v>
                </c:pt>
                <c:pt idx="79">
                  <c:v>39.998782170210703</c:v>
                </c:pt>
                <c:pt idx="80">
                  <c:v>40.497210725782203</c:v>
                </c:pt>
                <c:pt idx="81">
                  <c:v>41.0004788861932</c:v>
                </c:pt>
                <c:pt idx="82">
                  <c:v>41.498907441764601</c:v>
                </c:pt>
                <c:pt idx="83">
                  <c:v>42.001319315605002</c:v>
                </c:pt>
                <c:pt idx="84">
                  <c:v>42.499544899544901</c:v>
                </c:pt>
                <c:pt idx="85">
                  <c:v>42.997713397713397</c:v>
                </c:pt>
                <c:pt idx="86">
                  <c:v>43.500334586048901</c:v>
                </c:pt>
                <c:pt idx="87">
                  <c:v>43.998763141620302</c:v>
                </c:pt>
                <c:pt idx="88">
                  <c:v>44.501301872730401</c:v>
                </c:pt>
                <c:pt idx="89">
                  <c:v>44.999565513851202</c:v>
                </c:pt>
                <c:pt idx="90">
                  <c:v>45.5022184165041</c:v>
                </c:pt>
                <c:pt idx="91">
                  <c:v>46.000539143396303</c:v>
                </c:pt>
                <c:pt idx="92">
                  <c:v>46.503141303141298</c:v>
                </c:pt>
                <c:pt idx="93">
                  <c:v>47.001829916115597</c:v>
                </c:pt>
                <c:pt idx="94">
                  <c:v>47.500258471686998</c:v>
                </c:pt>
                <c:pt idx="95">
                  <c:v>48.002644974073498</c:v>
                </c:pt>
              </c:numCache>
            </c:numRef>
          </c:xVal>
          <c:yVal>
            <c:numRef>
              <c:f>'[ada 2016.xlsx]Sheet10'!$G$5:$G$100</c:f>
              <c:numCache>
                <c:formatCode>General</c:formatCode>
                <c:ptCount val="96"/>
                <c:pt idx="0">
                  <c:v>7.3232323232323204E-2</c:v>
                </c:pt>
                <c:pt idx="1">
                  <c:v>0.10101010101010099</c:v>
                </c:pt>
                <c:pt idx="2">
                  <c:v>0.13636363636363599</c:v>
                </c:pt>
                <c:pt idx="3">
                  <c:v>0.14646464646464599</c:v>
                </c:pt>
                <c:pt idx="4">
                  <c:v>0.194444444444444</c:v>
                </c:pt>
                <c:pt idx="5">
                  <c:v>0.330808080808081</c:v>
                </c:pt>
                <c:pt idx="6">
                  <c:v>0.40404040404040398</c:v>
                </c:pt>
                <c:pt idx="7">
                  <c:v>0.47979797979798</c:v>
                </c:pt>
                <c:pt idx="8">
                  <c:v>0.52020202020202</c:v>
                </c:pt>
                <c:pt idx="9">
                  <c:v>0.58838383838383801</c:v>
                </c:pt>
                <c:pt idx="10">
                  <c:v>0.60101010101010099</c:v>
                </c:pt>
                <c:pt idx="11">
                  <c:v>0.63888888888888895</c:v>
                </c:pt>
                <c:pt idx="12">
                  <c:v>0.70454545454545403</c:v>
                </c:pt>
                <c:pt idx="13">
                  <c:v>0.74747474747474796</c:v>
                </c:pt>
                <c:pt idx="14">
                  <c:v>0.79797979797979801</c:v>
                </c:pt>
                <c:pt idx="15">
                  <c:v>0.85101010101010099</c:v>
                </c:pt>
                <c:pt idx="16">
                  <c:v>0.90909090909090895</c:v>
                </c:pt>
                <c:pt idx="17">
                  <c:v>1.06565656565657</c:v>
                </c:pt>
                <c:pt idx="18">
                  <c:v>1.14646464646465</c:v>
                </c:pt>
                <c:pt idx="19">
                  <c:v>1.2045454545454499</c:v>
                </c:pt>
                <c:pt idx="20">
                  <c:v>1.2525252525252499</c:v>
                </c:pt>
                <c:pt idx="21">
                  <c:v>1.28282828282828</c:v>
                </c:pt>
                <c:pt idx="22">
                  <c:v>1.34848484848485</c:v>
                </c:pt>
                <c:pt idx="23">
                  <c:v>1.44444444444444</c:v>
                </c:pt>
                <c:pt idx="24">
                  <c:v>1.5202020202020201</c:v>
                </c:pt>
                <c:pt idx="25">
                  <c:v>1.5782828282828301</c:v>
                </c:pt>
                <c:pt idx="26">
                  <c:v>1.65151515151515</c:v>
                </c:pt>
                <c:pt idx="27">
                  <c:v>1.7398989898989901</c:v>
                </c:pt>
                <c:pt idx="28">
                  <c:v>1.85353535353535</c:v>
                </c:pt>
                <c:pt idx="29">
                  <c:v>1.9318181818181801</c:v>
                </c:pt>
                <c:pt idx="30">
                  <c:v>2.06313131313131</c:v>
                </c:pt>
                <c:pt idx="31">
                  <c:v>2.16919191919192</c:v>
                </c:pt>
                <c:pt idx="32">
                  <c:v>2.25757575757576</c:v>
                </c:pt>
                <c:pt idx="33">
                  <c:v>2.3409090909090899</c:v>
                </c:pt>
                <c:pt idx="34">
                  <c:v>2.3838383838383801</c:v>
                </c:pt>
                <c:pt idx="35">
                  <c:v>2.4595959595959598</c:v>
                </c:pt>
                <c:pt idx="36">
                  <c:v>2.4797979797979801</c:v>
                </c:pt>
                <c:pt idx="37">
                  <c:v>2.5126262626262599</c:v>
                </c:pt>
                <c:pt idx="38">
                  <c:v>2.5353535353535399</c:v>
                </c:pt>
                <c:pt idx="39">
                  <c:v>2.6035353535353498</c:v>
                </c:pt>
                <c:pt idx="40">
                  <c:v>2.6237373737373701</c:v>
                </c:pt>
                <c:pt idx="41">
                  <c:v>2.7222222222222201</c:v>
                </c:pt>
                <c:pt idx="42">
                  <c:v>2.7929292929292902</c:v>
                </c:pt>
                <c:pt idx="43">
                  <c:v>2.83080808080808</c:v>
                </c:pt>
                <c:pt idx="44">
                  <c:v>2.8686868686868698</c:v>
                </c:pt>
                <c:pt idx="45">
                  <c:v>2.9570707070707098</c:v>
                </c:pt>
                <c:pt idx="46">
                  <c:v>3.07323232323232</c:v>
                </c:pt>
                <c:pt idx="47">
                  <c:v>3.1818181818181799</c:v>
                </c:pt>
                <c:pt idx="48">
                  <c:v>3.3207070707070701</c:v>
                </c:pt>
                <c:pt idx="49">
                  <c:v>3.4217171717171699</c:v>
                </c:pt>
                <c:pt idx="50">
                  <c:v>3.6010101010100999</c:v>
                </c:pt>
                <c:pt idx="51">
                  <c:v>3.6717171717171699</c:v>
                </c:pt>
                <c:pt idx="52">
                  <c:v>3.7070707070707098</c:v>
                </c:pt>
                <c:pt idx="53">
                  <c:v>3.8510101010100999</c:v>
                </c:pt>
                <c:pt idx="54">
                  <c:v>4</c:v>
                </c:pt>
                <c:pt idx="55">
                  <c:v>4.0757575757575797</c:v>
                </c:pt>
                <c:pt idx="56">
                  <c:v>4.1792929292929299</c:v>
                </c:pt>
                <c:pt idx="57">
                  <c:v>4.2626262626262603</c:v>
                </c:pt>
                <c:pt idx="58">
                  <c:v>4.4040404040404004</c:v>
                </c:pt>
                <c:pt idx="59">
                  <c:v>4.5353535353535399</c:v>
                </c:pt>
                <c:pt idx="60">
                  <c:v>4.6388888888888902</c:v>
                </c:pt>
                <c:pt idx="61">
                  <c:v>4.8308080808080804</c:v>
                </c:pt>
                <c:pt idx="62">
                  <c:v>4.8282828282828296</c:v>
                </c:pt>
                <c:pt idx="63">
                  <c:v>4.9318181818181799</c:v>
                </c:pt>
                <c:pt idx="64">
                  <c:v>5.0227272727272698</c:v>
                </c:pt>
                <c:pt idx="65">
                  <c:v>5.1186868686868703</c:v>
                </c:pt>
                <c:pt idx="66">
                  <c:v>5.1565656565656601</c:v>
                </c:pt>
                <c:pt idx="67">
                  <c:v>5.1792929292929299</c:v>
                </c:pt>
                <c:pt idx="68">
                  <c:v>5.2803030303030303</c:v>
                </c:pt>
                <c:pt idx="69">
                  <c:v>5.4191919191919196</c:v>
                </c:pt>
                <c:pt idx="70">
                  <c:v>5.4924242424242404</c:v>
                </c:pt>
                <c:pt idx="71">
                  <c:v>5.5934343434343399</c:v>
                </c:pt>
                <c:pt idx="72">
                  <c:v>5.6338383838383796</c:v>
                </c:pt>
                <c:pt idx="73">
                  <c:v>5.7247474747474696</c:v>
                </c:pt>
                <c:pt idx="74">
                  <c:v>5.7272727272727302</c:v>
                </c:pt>
                <c:pt idx="75">
                  <c:v>5.8005050505050502</c:v>
                </c:pt>
                <c:pt idx="76">
                  <c:v>5.9343434343434298</c:v>
                </c:pt>
                <c:pt idx="77">
                  <c:v>6.0202020202020199</c:v>
                </c:pt>
                <c:pt idx="78">
                  <c:v>6.1792929292929299</c:v>
                </c:pt>
                <c:pt idx="79">
                  <c:v>6.1818181818181799</c:v>
                </c:pt>
                <c:pt idx="80">
                  <c:v>6.2853535353535399</c:v>
                </c:pt>
                <c:pt idx="81">
                  <c:v>6.6489898989898997</c:v>
                </c:pt>
                <c:pt idx="82">
                  <c:v>6.7525252525252499</c:v>
                </c:pt>
                <c:pt idx="83">
                  <c:v>6.7752525252525304</c:v>
                </c:pt>
                <c:pt idx="84">
                  <c:v>6.7979797979798002</c:v>
                </c:pt>
                <c:pt idx="85">
                  <c:v>6.7979797979798002</c:v>
                </c:pt>
                <c:pt idx="86">
                  <c:v>6.9040404040404004</c:v>
                </c:pt>
                <c:pt idx="87">
                  <c:v>7.0075757575757596</c:v>
                </c:pt>
                <c:pt idx="88">
                  <c:v>7.0808080808080804</c:v>
                </c:pt>
                <c:pt idx="89">
                  <c:v>7.1186868686868703</c:v>
                </c:pt>
                <c:pt idx="90">
                  <c:v>7.2373737373737397</c:v>
                </c:pt>
                <c:pt idx="91">
                  <c:v>7.2979797979798002</c:v>
                </c:pt>
                <c:pt idx="92">
                  <c:v>7.3964646464646497</c:v>
                </c:pt>
                <c:pt idx="93">
                  <c:v>7.6035353535353503</c:v>
                </c:pt>
                <c:pt idx="94">
                  <c:v>7.7070707070707103</c:v>
                </c:pt>
                <c:pt idx="95">
                  <c:v>7.71969696969696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06EA-4506-8C73-382F3D0E1C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5738568"/>
        <c:axId val="545738896"/>
      </c:scatterChart>
      <c:valAx>
        <c:axId val="545738568"/>
        <c:scaling>
          <c:orientation val="minMax"/>
          <c:max val="54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недель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5738896"/>
        <c:crosses val="autoZero"/>
        <c:crossBetween val="midCat"/>
        <c:majorUnit val="6"/>
      </c:valAx>
      <c:valAx>
        <c:axId val="54573889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%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57385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419573490813648"/>
          <c:y val="0.53700896762904637"/>
          <c:w val="0.55093153980752418"/>
          <c:h val="0.112246513878502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/>
      </a:pPr>
      <a:endParaRPr lang="ru-RU"/>
    </a:p>
  </c:txPr>
  <c:externalData r:id="rId4">
    <c:autoUpdate val="0"/>
  </c:externalData>
  <c:userShapes r:id="rId5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8046150481189847E-2"/>
          <c:y val="0.11103611913265608"/>
          <c:w val="0.86296084864391953"/>
          <c:h val="0.62787155381624171"/>
        </c:manualLayout>
      </c:layout>
      <c:scatterChart>
        <c:scatterStyle val="smoothMarker"/>
        <c:varyColors val="0"/>
        <c:ser>
          <c:idx val="0"/>
          <c:order val="0"/>
          <c:tx>
            <c:strRef>
              <c:f>'[ada 2016.xlsx]Sheet5'!$A$40</c:f>
              <c:strCache>
                <c:ptCount val="1"/>
                <c:pt idx="0">
                  <c:v>Empagliflozin 25 mg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xVal>
            <c:numRef>
              <c:f>'[ada 2016.xlsx]Sheet5'!$A$23:$A$38</c:f>
              <c:numCache>
                <c:formatCode>0.00</c:formatCode>
                <c:ptCount val="16"/>
                <c:pt idx="0">
                  <c:v>0</c:v>
                </c:pt>
                <c:pt idx="1">
                  <c:v>12</c:v>
                </c:pt>
                <c:pt idx="2">
                  <c:v>28</c:v>
                </c:pt>
                <c:pt idx="3">
                  <c:v>40</c:v>
                </c:pt>
                <c:pt idx="4">
                  <c:v>52</c:v>
                </c:pt>
                <c:pt idx="5">
                  <c:v>66</c:v>
                </c:pt>
                <c:pt idx="6">
                  <c:v>89</c:v>
                </c:pt>
                <c:pt idx="7">
                  <c:v>94</c:v>
                </c:pt>
                <c:pt idx="8">
                  <c:v>108</c:v>
                </c:pt>
                <c:pt idx="9">
                  <c:v>122</c:v>
                </c:pt>
                <c:pt idx="10">
                  <c:v>136</c:v>
                </c:pt>
                <c:pt idx="11">
                  <c:v>150</c:v>
                </c:pt>
                <c:pt idx="12">
                  <c:v>164</c:v>
                </c:pt>
                <c:pt idx="13">
                  <c:v>178</c:v>
                </c:pt>
                <c:pt idx="14">
                  <c:v>192</c:v>
                </c:pt>
                <c:pt idx="15">
                  <c:v>206</c:v>
                </c:pt>
              </c:numCache>
            </c:numRef>
          </c:xVal>
          <c:yVal>
            <c:numRef>
              <c:f>'[ada 2016.xlsx]Sheet5'!$B$5:$B$20</c:f>
              <c:numCache>
                <c:formatCode>0.00</c:formatCode>
                <c:ptCount val="16"/>
                <c:pt idx="0">
                  <c:v>8.0703592814371294</c:v>
                </c:pt>
                <c:pt idx="1">
                  <c:v>7.3697604790419202</c:v>
                </c:pt>
                <c:pt idx="2">
                  <c:v>7.3967065868263502</c:v>
                </c:pt>
                <c:pt idx="3">
                  <c:v>7.4101796407185603</c:v>
                </c:pt>
                <c:pt idx="4">
                  <c:v>7.44161676646707</c:v>
                </c:pt>
                <c:pt idx="5">
                  <c:v>7.4820359281437101</c:v>
                </c:pt>
                <c:pt idx="6">
                  <c:v>7.5</c:v>
                </c:pt>
                <c:pt idx="7">
                  <c:v>7.5179640718562899</c:v>
                </c:pt>
                <c:pt idx="8">
                  <c:v>7.5404191616766498</c:v>
                </c:pt>
                <c:pt idx="9">
                  <c:v>7.5808383233532899</c:v>
                </c:pt>
                <c:pt idx="10">
                  <c:v>7.6212574850299397</c:v>
                </c:pt>
                <c:pt idx="11">
                  <c:v>7.6302395209580798</c:v>
                </c:pt>
                <c:pt idx="12">
                  <c:v>7.6841317365269504</c:v>
                </c:pt>
                <c:pt idx="13">
                  <c:v>7.6931137724550904</c:v>
                </c:pt>
                <c:pt idx="14">
                  <c:v>7.7514970059880204</c:v>
                </c:pt>
                <c:pt idx="15">
                  <c:v>7.809880239520960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F118-46A6-A7EB-BA30C503EF5E}"/>
            </c:ext>
          </c:extLst>
        </c:ser>
        <c:ser>
          <c:idx val="1"/>
          <c:order val="1"/>
          <c:tx>
            <c:strRef>
              <c:f>'[ada 2016.xlsx]Sheet5'!$A$22</c:f>
              <c:strCache>
                <c:ptCount val="1"/>
                <c:pt idx="0">
                  <c:v>Empagliflozin 10 mg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xVal>
            <c:numRef>
              <c:f>'[ada 2016.xlsx]Sheet5'!$A$23:$A$38</c:f>
              <c:numCache>
                <c:formatCode>0.00</c:formatCode>
                <c:ptCount val="16"/>
                <c:pt idx="0">
                  <c:v>0</c:v>
                </c:pt>
                <c:pt idx="1">
                  <c:v>12</c:v>
                </c:pt>
                <c:pt idx="2">
                  <c:v>28</c:v>
                </c:pt>
                <c:pt idx="3">
                  <c:v>40</c:v>
                </c:pt>
                <c:pt idx="4">
                  <c:v>52</c:v>
                </c:pt>
                <c:pt idx="5">
                  <c:v>66</c:v>
                </c:pt>
                <c:pt idx="6">
                  <c:v>89</c:v>
                </c:pt>
                <c:pt idx="7">
                  <c:v>94</c:v>
                </c:pt>
                <c:pt idx="8">
                  <c:v>108</c:v>
                </c:pt>
                <c:pt idx="9">
                  <c:v>122</c:v>
                </c:pt>
                <c:pt idx="10">
                  <c:v>136</c:v>
                </c:pt>
                <c:pt idx="11">
                  <c:v>150</c:v>
                </c:pt>
                <c:pt idx="12">
                  <c:v>164</c:v>
                </c:pt>
                <c:pt idx="13">
                  <c:v>178</c:v>
                </c:pt>
                <c:pt idx="14">
                  <c:v>192</c:v>
                </c:pt>
                <c:pt idx="15">
                  <c:v>206</c:v>
                </c:pt>
              </c:numCache>
            </c:numRef>
          </c:xVal>
          <c:yVal>
            <c:numRef>
              <c:f>'[ada 2016.xlsx]Sheet5'!$B$23:$B$38</c:f>
              <c:numCache>
                <c:formatCode>0.00</c:formatCode>
                <c:ptCount val="16"/>
                <c:pt idx="0">
                  <c:v>8.0703592814371294</c:v>
                </c:pt>
                <c:pt idx="1">
                  <c:v>7.4326347305389202</c:v>
                </c:pt>
                <c:pt idx="2">
                  <c:v>7.47305389221557</c:v>
                </c:pt>
                <c:pt idx="3">
                  <c:v>7.5404191616766498</c:v>
                </c:pt>
                <c:pt idx="4">
                  <c:v>7.5404191616766498</c:v>
                </c:pt>
                <c:pt idx="5">
                  <c:v>7.5808383233532899</c:v>
                </c:pt>
                <c:pt idx="6">
                  <c:v>7.5628742514970098</c:v>
                </c:pt>
                <c:pt idx="7">
                  <c:v>7.5718562874251498</c:v>
                </c:pt>
                <c:pt idx="8">
                  <c:v>7.6122754491017997</c:v>
                </c:pt>
                <c:pt idx="9">
                  <c:v>7.6841317365269504</c:v>
                </c:pt>
                <c:pt idx="10">
                  <c:v>7.6841317365269504</c:v>
                </c:pt>
                <c:pt idx="11">
                  <c:v>7.7335329341317403</c:v>
                </c:pt>
                <c:pt idx="12">
                  <c:v>7.7919161676646702</c:v>
                </c:pt>
                <c:pt idx="13">
                  <c:v>7.8008982035928103</c:v>
                </c:pt>
                <c:pt idx="14">
                  <c:v>7.8458083832335301</c:v>
                </c:pt>
                <c:pt idx="15">
                  <c:v>7.935628742514969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118-46A6-A7EB-BA30C503EF5E}"/>
            </c:ext>
          </c:extLst>
        </c:ser>
        <c:ser>
          <c:idx val="2"/>
          <c:order val="2"/>
          <c:tx>
            <c:strRef>
              <c:f>'[ada 2016.xlsx]Sheet5'!$A$4</c:f>
              <c:strCache>
                <c:ptCount val="1"/>
                <c:pt idx="0">
                  <c:v>Placebo</c:v>
                </c:pt>
              </c:strCache>
            </c:strRef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xVal>
            <c:numRef>
              <c:f>'[ada 2016.xlsx]Sheet5'!$A$41:$A$56</c:f>
              <c:numCache>
                <c:formatCode>0.00</c:formatCode>
                <c:ptCount val="16"/>
                <c:pt idx="0">
                  <c:v>0</c:v>
                </c:pt>
                <c:pt idx="1">
                  <c:v>12</c:v>
                </c:pt>
                <c:pt idx="2">
                  <c:v>28</c:v>
                </c:pt>
                <c:pt idx="3">
                  <c:v>40</c:v>
                </c:pt>
                <c:pt idx="4">
                  <c:v>52</c:v>
                </c:pt>
                <c:pt idx="5">
                  <c:v>66</c:v>
                </c:pt>
                <c:pt idx="6">
                  <c:v>89</c:v>
                </c:pt>
                <c:pt idx="7">
                  <c:v>94</c:v>
                </c:pt>
                <c:pt idx="8">
                  <c:v>108</c:v>
                </c:pt>
                <c:pt idx="9">
                  <c:v>122</c:v>
                </c:pt>
                <c:pt idx="10">
                  <c:v>136</c:v>
                </c:pt>
                <c:pt idx="11">
                  <c:v>150</c:v>
                </c:pt>
                <c:pt idx="12">
                  <c:v>164</c:v>
                </c:pt>
                <c:pt idx="13">
                  <c:v>178</c:v>
                </c:pt>
                <c:pt idx="14">
                  <c:v>192</c:v>
                </c:pt>
                <c:pt idx="15">
                  <c:v>206</c:v>
                </c:pt>
              </c:numCache>
            </c:numRef>
          </c:xVal>
          <c:yVal>
            <c:numRef>
              <c:f>'[ada 2016.xlsx]Sheet5'!$B$41:$B$56</c:f>
              <c:numCache>
                <c:formatCode>0.00</c:formatCode>
                <c:ptCount val="16"/>
                <c:pt idx="0">
                  <c:v>8.0703592814371294</c:v>
                </c:pt>
                <c:pt idx="1">
                  <c:v>7.9670658682634699</c:v>
                </c:pt>
                <c:pt idx="2">
                  <c:v>7.9715568862275399</c:v>
                </c:pt>
                <c:pt idx="3">
                  <c:v>7.9670658682634699</c:v>
                </c:pt>
                <c:pt idx="4">
                  <c:v>7.9760479041916197</c:v>
                </c:pt>
                <c:pt idx="5">
                  <c:v>7.9580838323353298</c:v>
                </c:pt>
                <c:pt idx="6">
                  <c:v>7.9625748502993998</c:v>
                </c:pt>
                <c:pt idx="7">
                  <c:v>7.9985029940119796</c:v>
                </c:pt>
                <c:pt idx="8">
                  <c:v>7.9895209580838298</c:v>
                </c:pt>
                <c:pt idx="9">
                  <c:v>7.9715568862275399</c:v>
                </c:pt>
                <c:pt idx="10">
                  <c:v>8.0568862275449096</c:v>
                </c:pt>
                <c:pt idx="11">
                  <c:v>8.0883233532934096</c:v>
                </c:pt>
                <c:pt idx="12">
                  <c:v>8.0973053892215603</c:v>
                </c:pt>
                <c:pt idx="13">
                  <c:v>8.0389221556886206</c:v>
                </c:pt>
                <c:pt idx="14">
                  <c:v>8.0793413173652695</c:v>
                </c:pt>
                <c:pt idx="15">
                  <c:v>8.160179640718560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F118-46A6-A7EB-BA30C503EF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4787984"/>
        <c:axId val="704788640"/>
      </c:scatterChart>
      <c:valAx>
        <c:axId val="704787984"/>
        <c:scaling>
          <c:orientation val="minMax"/>
          <c:max val="206"/>
          <c:min val="0"/>
        </c:scaling>
        <c:delete val="0"/>
        <c:axPos val="b"/>
        <c:numFmt formatCode="0" sourceLinked="0"/>
        <c:majorTickMark val="none"/>
        <c:minorTickMark val="none"/>
        <c:tickLblPos val="nextTo"/>
        <c:spPr>
          <a:noFill/>
          <a:ln w="19050" cap="flat" cmpd="sng" algn="ctr">
            <a:solidFill>
              <a:srgbClr val="0070C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04788640"/>
        <c:crosses val="autoZero"/>
        <c:crossBetween val="midCat"/>
        <c:majorUnit val="24"/>
      </c:valAx>
      <c:valAx>
        <c:axId val="704788640"/>
        <c:scaling>
          <c:orientation val="minMax"/>
          <c:max val="9"/>
          <c:min val="6"/>
        </c:scaling>
        <c:delete val="0"/>
        <c:axPos val="l"/>
        <c:numFmt formatCode="0.0" sourceLinked="0"/>
        <c:majorTickMark val="out"/>
        <c:minorTickMark val="none"/>
        <c:tickLblPos val="nextTo"/>
        <c:spPr>
          <a:noFill/>
          <a:ln w="19050" cap="flat" cmpd="sng" algn="ctr">
            <a:solidFill>
              <a:srgbClr val="0070C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04787984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024868766404197"/>
          <c:y val="0.54824762919434222"/>
          <c:w val="0.28752909011373579"/>
          <c:h val="0.1783839123703617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340204733422007"/>
          <c:y val="5.5079228777975373E-2"/>
          <c:w val="0.80851872804838687"/>
          <c:h val="0.70071128975185482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I$4</c:f>
              <c:strCache>
                <c:ptCount val="1"/>
                <c:pt idx="0">
                  <c:v>Плацебо</c:v>
                </c:pt>
              </c:strCache>
            </c:strRef>
          </c:tx>
          <c:spPr>
            <a:ln w="412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Sheet1!$I$5:$I$64</c:f>
              <c:numCache>
                <c:formatCode>General</c:formatCode>
                <c:ptCount val="60"/>
                <c:pt idx="0">
                  <c:v>0</c:v>
                </c:pt>
                <c:pt idx="1">
                  <c:v>28.728179551122199</c:v>
                </c:pt>
                <c:pt idx="2">
                  <c:v>53.865336658354103</c:v>
                </c:pt>
                <c:pt idx="3">
                  <c:v>71.820448877805504</c:v>
                </c:pt>
                <c:pt idx="4">
                  <c:v>104.139650872818</c:v>
                </c:pt>
                <c:pt idx="5">
                  <c:v>132.86783042394001</c:v>
                </c:pt>
                <c:pt idx="6">
                  <c:v>165.18703241895301</c:v>
                </c:pt>
                <c:pt idx="7">
                  <c:v>186.73316708229399</c:v>
                </c:pt>
                <c:pt idx="8">
                  <c:v>215.46134663341601</c:v>
                </c:pt>
                <c:pt idx="9">
                  <c:v>262.14463840398997</c:v>
                </c:pt>
                <c:pt idx="10">
                  <c:v>287.28179551122201</c:v>
                </c:pt>
                <c:pt idx="11">
                  <c:v>319.60099750623402</c:v>
                </c:pt>
                <c:pt idx="12">
                  <c:v>362.69326683291803</c:v>
                </c:pt>
                <c:pt idx="13">
                  <c:v>380.64837905236902</c:v>
                </c:pt>
                <c:pt idx="14">
                  <c:v>412.967581047382</c:v>
                </c:pt>
                <c:pt idx="15">
                  <c:v>459.65087281795502</c:v>
                </c:pt>
                <c:pt idx="16">
                  <c:v>477.60598503740601</c:v>
                </c:pt>
                <c:pt idx="17">
                  <c:v>517.10723192019998</c:v>
                </c:pt>
                <c:pt idx="18">
                  <c:v>535.06234413965103</c:v>
                </c:pt>
                <c:pt idx="19">
                  <c:v>556.60847880299298</c:v>
                </c:pt>
                <c:pt idx="20">
                  <c:v>581.745635910224</c:v>
                </c:pt>
                <c:pt idx="21">
                  <c:v>606.88279301745604</c:v>
                </c:pt>
                <c:pt idx="22">
                  <c:v>621.24688279301699</c:v>
                </c:pt>
                <c:pt idx="23">
                  <c:v>646.38403990024904</c:v>
                </c:pt>
                <c:pt idx="24">
                  <c:v>667.93017456359098</c:v>
                </c:pt>
                <c:pt idx="25">
                  <c:v>685.88528678304203</c:v>
                </c:pt>
                <c:pt idx="26">
                  <c:v>693.06733167082302</c:v>
                </c:pt>
                <c:pt idx="27">
                  <c:v>728.97755610972604</c:v>
                </c:pt>
                <c:pt idx="28">
                  <c:v>743.34164588528699</c:v>
                </c:pt>
                <c:pt idx="29">
                  <c:v>775.660847880299</c:v>
                </c:pt>
                <c:pt idx="30">
                  <c:v>804.38902743142103</c:v>
                </c:pt>
                <c:pt idx="31">
                  <c:v>818.75311720698301</c:v>
                </c:pt>
                <c:pt idx="32">
                  <c:v>836.70822942643395</c:v>
                </c:pt>
                <c:pt idx="33">
                  <c:v>869.02743142144595</c:v>
                </c:pt>
                <c:pt idx="34">
                  <c:v>894.164588528678</c:v>
                </c:pt>
                <c:pt idx="35">
                  <c:v>912.11970074812996</c:v>
                </c:pt>
                <c:pt idx="36">
                  <c:v>926.48379052369103</c:v>
                </c:pt>
                <c:pt idx="37">
                  <c:v>948.02992518703195</c:v>
                </c:pt>
                <c:pt idx="38">
                  <c:v>965.98503740648403</c:v>
                </c:pt>
                <c:pt idx="39">
                  <c:v>987.53117206982597</c:v>
                </c:pt>
                <c:pt idx="40">
                  <c:v>1009.07730673317</c:v>
                </c:pt>
                <c:pt idx="41">
                  <c:v>1030.6234413965101</c:v>
                </c:pt>
                <c:pt idx="42">
                  <c:v>1048.5785536159599</c:v>
                </c:pt>
                <c:pt idx="43">
                  <c:v>1070.1246882793</c:v>
                </c:pt>
                <c:pt idx="44">
                  <c:v>1084.4887780548599</c:v>
                </c:pt>
                <c:pt idx="45">
                  <c:v>1102.44389027431</c:v>
                </c:pt>
                <c:pt idx="46">
                  <c:v>1145.536159601</c:v>
                </c:pt>
                <c:pt idx="47">
                  <c:v>1159.9002493765599</c:v>
                </c:pt>
                <c:pt idx="48">
                  <c:v>1185.0374064837899</c:v>
                </c:pt>
                <c:pt idx="49">
                  <c:v>1210.1745635910199</c:v>
                </c:pt>
                <c:pt idx="50">
                  <c:v>1235.3117206982499</c:v>
                </c:pt>
                <c:pt idx="51">
                  <c:v>1249.6758104738201</c:v>
                </c:pt>
                <c:pt idx="52">
                  <c:v>1267.6309226932699</c:v>
                </c:pt>
                <c:pt idx="53">
                  <c:v>1289.17705735661</c:v>
                </c:pt>
                <c:pt idx="54">
                  <c:v>1310.7231920199499</c:v>
                </c:pt>
                <c:pt idx="55">
                  <c:v>1328.6783042393999</c:v>
                </c:pt>
                <c:pt idx="56">
                  <c:v>1360.9975062344099</c:v>
                </c:pt>
                <c:pt idx="57">
                  <c:v>1396.90773067332</c:v>
                </c:pt>
                <c:pt idx="58">
                  <c:v>1418.4538653366601</c:v>
                </c:pt>
                <c:pt idx="59">
                  <c:v>1440</c:v>
                </c:pt>
              </c:numCache>
            </c:numRef>
          </c:xVal>
          <c:yVal>
            <c:numRef>
              <c:f>Sheet1!$J$5:$J$64</c:f>
              <c:numCache>
                <c:formatCode>General</c:formatCode>
                <c:ptCount val="60"/>
                <c:pt idx="0">
                  <c:v>0</c:v>
                </c:pt>
                <c:pt idx="1">
                  <c:v>0.18518518518518501</c:v>
                </c:pt>
                <c:pt idx="2">
                  <c:v>0.296296296296296</c:v>
                </c:pt>
                <c:pt idx="3">
                  <c:v>0.407407407407407</c:v>
                </c:pt>
                <c:pt idx="4">
                  <c:v>0.70370370370370405</c:v>
                </c:pt>
                <c:pt idx="5">
                  <c:v>0.85185185185185197</c:v>
                </c:pt>
                <c:pt idx="6">
                  <c:v>1.1111111111111101</c:v>
                </c:pt>
                <c:pt idx="7">
                  <c:v>1.2222222222222201</c:v>
                </c:pt>
                <c:pt idx="8">
                  <c:v>1.4074074074074101</c:v>
                </c:pt>
                <c:pt idx="9">
                  <c:v>1.6666666666666701</c:v>
                </c:pt>
                <c:pt idx="10">
                  <c:v>1.81481481481481</c:v>
                </c:pt>
                <c:pt idx="11">
                  <c:v>2.0370370370370399</c:v>
                </c:pt>
                <c:pt idx="12">
                  <c:v>2.2962962962962998</c:v>
                </c:pt>
                <c:pt idx="13">
                  <c:v>2.4814814814814801</c:v>
                </c:pt>
                <c:pt idx="14">
                  <c:v>2.6666666666666701</c:v>
                </c:pt>
                <c:pt idx="15">
                  <c:v>2.81481481481481</c:v>
                </c:pt>
                <c:pt idx="16">
                  <c:v>3</c:v>
                </c:pt>
                <c:pt idx="17">
                  <c:v>3.2222222222222201</c:v>
                </c:pt>
                <c:pt idx="18">
                  <c:v>3.3703703703703698</c:v>
                </c:pt>
                <c:pt idx="19">
                  <c:v>3.6296296296296302</c:v>
                </c:pt>
                <c:pt idx="20">
                  <c:v>3.74074074074074</c:v>
                </c:pt>
                <c:pt idx="21">
                  <c:v>3.8888888888888902</c:v>
                </c:pt>
                <c:pt idx="22">
                  <c:v>4</c:v>
                </c:pt>
                <c:pt idx="23">
                  <c:v>4.1851851851851896</c:v>
                </c:pt>
                <c:pt idx="24">
                  <c:v>4.3703703703703702</c:v>
                </c:pt>
                <c:pt idx="25">
                  <c:v>4.4814814814814801</c:v>
                </c:pt>
                <c:pt idx="26">
                  <c:v>4.6296296296296298</c:v>
                </c:pt>
                <c:pt idx="27">
                  <c:v>4.7407407407407396</c:v>
                </c:pt>
                <c:pt idx="28">
                  <c:v>4.8888888888888902</c:v>
                </c:pt>
                <c:pt idx="29">
                  <c:v>5.07407407407407</c:v>
                </c:pt>
                <c:pt idx="30">
                  <c:v>5.2592592592592604</c:v>
                </c:pt>
                <c:pt idx="31">
                  <c:v>5.4074074074074101</c:v>
                </c:pt>
                <c:pt idx="32">
                  <c:v>5.4444444444444402</c:v>
                </c:pt>
                <c:pt idx="33">
                  <c:v>5.6666666666666696</c:v>
                </c:pt>
                <c:pt idx="34">
                  <c:v>5.8518518518518503</c:v>
                </c:pt>
                <c:pt idx="35">
                  <c:v>5.92592592592593</c:v>
                </c:pt>
                <c:pt idx="36">
                  <c:v>6.07407407407407</c:v>
                </c:pt>
                <c:pt idx="37">
                  <c:v>6.1851851851851896</c:v>
                </c:pt>
                <c:pt idx="38">
                  <c:v>6.2592592592592604</c:v>
                </c:pt>
                <c:pt idx="39">
                  <c:v>6.4074074074074101</c:v>
                </c:pt>
                <c:pt idx="40">
                  <c:v>6.4814814814814801</c:v>
                </c:pt>
                <c:pt idx="41">
                  <c:v>6.7037037037036997</c:v>
                </c:pt>
                <c:pt idx="42">
                  <c:v>6.8148148148148104</c:v>
                </c:pt>
                <c:pt idx="43">
                  <c:v>6.8518518518518503</c:v>
                </c:pt>
                <c:pt idx="44">
                  <c:v>7.07407407407407</c:v>
                </c:pt>
                <c:pt idx="45">
                  <c:v>7.1851851851851896</c:v>
                </c:pt>
                <c:pt idx="46">
                  <c:v>7.3333333333333304</c:v>
                </c:pt>
                <c:pt idx="47">
                  <c:v>7.4814814814814801</c:v>
                </c:pt>
                <c:pt idx="48">
                  <c:v>7.6296296296296298</c:v>
                </c:pt>
                <c:pt idx="49">
                  <c:v>7.7037037037036997</c:v>
                </c:pt>
                <c:pt idx="50">
                  <c:v>7.8518518518518503</c:v>
                </c:pt>
                <c:pt idx="51">
                  <c:v>7.8888888888888902</c:v>
                </c:pt>
                <c:pt idx="52">
                  <c:v>8.0370370370370399</c:v>
                </c:pt>
                <c:pt idx="53">
                  <c:v>8.1851851851851904</c:v>
                </c:pt>
                <c:pt idx="54">
                  <c:v>8.2962962962962994</c:v>
                </c:pt>
                <c:pt idx="55">
                  <c:v>8.4444444444444393</c:v>
                </c:pt>
                <c:pt idx="56">
                  <c:v>8.7037037037037006</c:v>
                </c:pt>
                <c:pt idx="57">
                  <c:v>8.8518518518518494</c:v>
                </c:pt>
                <c:pt idx="58">
                  <c:v>9</c:v>
                </c:pt>
                <c:pt idx="59">
                  <c:v>9.111111111111110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9978-4293-98D2-722590E8F4EB}"/>
            </c:ext>
          </c:extLst>
        </c:ser>
        <c:ser>
          <c:idx val="1"/>
          <c:order val="1"/>
          <c:tx>
            <c:strRef>
              <c:f>Sheet1!$F$4</c:f>
              <c:strCache>
                <c:ptCount val="1"/>
                <c:pt idx="0">
                  <c:v>Дапаглифлозин</c:v>
                </c:pt>
              </c:strCache>
            </c:strRef>
          </c:tx>
          <c:spPr>
            <a:ln w="412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F$5:$F$62</c:f>
              <c:numCache>
                <c:formatCode>General</c:formatCode>
                <c:ptCount val="58"/>
                <c:pt idx="0">
                  <c:v>3.59102244389027</c:v>
                </c:pt>
                <c:pt idx="1">
                  <c:v>43.092269326683301</c:v>
                </c:pt>
                <c:pt idx="2">
                  <c:v>71.820448877805504</c:v>
                </c:pt>
                <c:pt idx="3">
                  <c:v>89.775561097256897</c:v>
                </c:pt>
                <c:pt idx="4">
                  <c:v>122.09476309226901</c:v>
                </c:pt>
                <c:pt idx="5">
                  <c:v>147.23192019950099</c:v>
                </c:pt>
                <c:pt idx="6">
                  <c:v>183.14214463840401</c:v>
                </c:pt>
                <c:pt idx="7">
                  <c:v>204.68827930174601</c:v>
                </c:pt>
                <c:pt idx="8">
                  <c:v>247.78054862842899</c:v>
                </c:pt>
                <c:pt idx="9">
                  <c:v>294.46384039900198</c:v>
                </c:pt>
                <c:pt idx="10">
                  <c:v>337.55610972568599</c:v>
                </c:pt>
                <c:pt idx="11">
                  <c:v>355.51122194513698</c:v>
                </c:pt>
                <c:pt idx="12">
                  <c:v>398.60349127182002</c:v>
                </c:pt>
                <c:pt idx="13">
                  <c:v>434.51371571072298</c:v>
                </c:pt>
                <c:pt idx="14">
                  <c:v>474.01496259351597</c:v>
                </c:pt>
                <c:pt idx="15">
                  <c:v>502.743142144638</c:v>
                </c:pt>
                <c:pt idx="16">
                  <c:v>538.65336658354101</c:v>
                </c:pt>
                <c:pt idx="17">
                  <c:v>563.79052369077294</c:v>
                </c:pt>
                <c:pt idx="18">
                  <c:v>592.51870324189497</c:v>
                </c:pt>
                <c:pt idx="19">
                  <c:v>617.65586034912701</c:v>
                </c:pt>
                <c:pt idx="20">
                  <c:v>653.56608478803003</c:v>
                </c:pt>
                <c:pt idx="21">
                  <c:v>678.70324189526195</c:v>
                </c:pt>
                <c:pt idx="22">
                  <c:v>693.06733167082302</c:v>
                </c:pt>
                <c:pt idx="23">
                  <c:v>714.61346633416497</c:v>
                </c:pt>
                <c:pt idx="24">
                  <c:v>754.11471321695797</c:v>
                </c:pt>
                <c:pt idx="25">
                  <c:v>786.43391521196997</c:v>
                </c:pt>
                <c:pt idx="26">
                  <c:v>797.20698254364095</c:v>
                </c:pt>
                <c:pt idx="27">
                  <c:v>822.34413965087299</c:v>
                </c:pt>
                <c:pt idx="28">
                  <c:v>843.89027431421403</c:v>
                </c:pt>
                <c:pt idx="29">
                  <c:v>872.61845386533696</c:v>
                </c:pt>
                <c:pt idx="30">
                  <c:v>890.57356608478801</c:v>
                </c:pt>
                <c:pt idx="31">
                  <c:v>919.30174563591004</c:v>
                </c:pt>
                <c:pt idx="32">
                  <c:v>958.80299251870304</c:v>
                </c:pt>
                <c:pt idx="33">
                  <c:v>987.53117206982597</c:v>
                </c:pt>
                <c:pt idx="34">
                  <c:v>1009.07730673317</c:v>
                </c:pt>
                <c:pt idx="35">
                  <c:v>1052.16957605985</c:v>
                </c:pt>
                <c:pt idx="36">
                  <c:v>1077.30673316708</c:v>
                </c:pt>
                <c:pt idx="37">
                  <c:v>1109.6259351620899</c:v>
                </c:pt>
                <c:pt idx="38">
                  <c:v>1134.7630922693299</c:v>
                </c:pt>
                <c:pt idx="39">
                  <c:v>1159.9002493765599</c:v>
                </c:pt>
                <c:pt idx="40">
                  <c:v>1174.2643391521201</c:v>
                </c:pt>
                <c:pt idx="41">
                  <c:v>1199.4014962593501</c:v>
                </c:pt>
                <c:pt idx="42">
                  <c:v>1217.3566084787999</c:v>
                </c:pt>
                <c:pt idx="43">
                  <c:v>1246.08478802993</c:v>
                </c:pt>
                <c:pt idx="44">
                  <c:v>1253.26683291771</c:v>
                </c:pt>
                <c:pt idx="45">
                  <c:v>1274.8129675810501</c:v>
                </c:pt>
                <c:pt idx="46">
                  <c:v>1303.54114713217</c:v>
                </c:pt>
                <c:pt idx="47">
                  <c:v>1325.0872817955101</c:v>
                </c:pt>
                <c:pt idx="48">
                  <c:v>1346.63341645885</c:v>
                </c:pt>
                <c:pt idx="49">
                  <c:v>1368.1795511221901</c:v>
                </c:pt>
                <c:pt idx="50">
                  <c:v>1375.3615960099801</c:v>
                </c:pt>
                <c:pt idx="51">
                  <c:v>1386.1346633416499</c:v>
                </c:pt>
                <c:pt idx="52">
                  <c:v>1389.72568578554</c:v>
                </c:pt>
                <c:pt idx="53">
                  <c:v>1400.4987531172101</c:v>
                </c:pt>
                <c:pt idx="54">
                  <c:v>1407.68079800499</c:v>
                </c:pt>
                <c:pt idx="55">
                  <c:v>1422.04488778055</c:v>
                </c:pt>
                <c:pt idx="56">
                  <c:v>1432.81795511222</c:v>
                </c:pt>
                <c:pt idx="57">
                  <c:v>1440</c:v>
                </c:pt>
              </c:numCache>
            </c:numRef>
          </c:xVal>
          <c:yVal>
            <c:numRef>
              <c:f>Sheet1!$G$5:$G$62</c:f>
              <c:numCache>
                <c:formatCode>General</c:formatCode>
                <c:ptCount val="58"/>
                <c:pt idx="0">
                  <c:v>3.7037037037037E-2</c:v>
                </c:pt>
                <c:pt idx="1">
                  <c:v>0.25925925925925902</c:v>
                </c:pt>
                <c:pt idx="2">
                  <c:v>0.407407407407407</c:v>
                </c:pt>
                <c:pt idx="3">
                  <c:v>0.55555555555555602</c:v>
                </c:pt>
                <c:pt idx="4">
                  <c:v>0.74074074074074103</c:v>
                </c:pt>
                <c:pt idx="5">
                  <c:v>0.96296296296296302</c:v>
                </c:pt>
                <c:pt idx="6">
                  <c:v>1.07407407407407</c:v>
                </c:pt>
                <c:pt idx="7">
                  <c:v>1.3333333333333299</c:v>
                </c:pt>
                <c:pt idx="8">
                  <c:v>1.55555555555556</c:v>
                </c:pt>
                <c:pt idx="9">
                  <c:v>1.8888888888888899</c:v>
                </c:pt>
                <c:pt idx="10">
                  <c:v>2.1111111111111098</c:v>
                </c:pt>
                <c:pt idx="11">
                  <c:v>2.2962962962962998</c:v>
                </c:pt>
                <c:pt idx="12">
                  <c:v>2.5185185185185199</c:v>
                </c:pt>
                <c:pt idx="13">
                  <c:v>2.7777777777777799</c:v>
                </c:pt>
                <c:pt idx="14">
                  <c:v>2.8518518518518499</c:v>
                </c:pt>
                <c:pt idx="15">
                  <c:v>3.1111111111111098</c:v>
                </c:pt>
                <c:pt idx="16">
                  <c:v>3.25925925925926</c:v>
                </c:pt>
                <c:pt idx="17">
                  <c:v>3.3703703703703698</c:v>
                </c:pt>
                <c:pt idx="18">
                  <c:v>3.5555555555555598</c:v>
                </c:pt>
                <c:pt idx="19">
                  <c:v>3.74074074074074</c:v>
                </c:pt>
                <c:pt idx="20">
                  <c:v>3.92592592592593</c:v>
                </c:pt>
                <c:pt idx="21">
                  <c:v>4.1481481481481497</c:v>
                </c:pt>
                <c:pt idx="22">
                  <c:v>4.2592592592592604</c:v>
                </c:pt>
                <c:pt idx="23">
                  <c:v>4.4444444444444402</c:v>
                </c:pt>
                <c:pt idx="24">
                  <c:v>4.6296296296296298</c:v>
                </c:pt>
                <c:pt idx="25">
                  <c:v>4.8148148148148104</c:v>
                </c:pt>
                <c:pt idx="26">
                  <c:v>4.92592592592593</c:v>
                </c:pt>
                <c:pt idx="27">
                  <c:v>5.07407407407407</c:v>
                </c:pt>
                <c:pt idx="28">
                  <c:v>5.1481481481481497</c:v>
                </c:pt>
                <c:pt idx="29">
                  <c:v>5.2962962962963003</c:v>
                </c:pt>
                <c:pt idx="30">
                  <c:v>5.4074074074074101</c:v>
                </c:pt>
                <c:pt idx="31">
                  <c:v>5.5925925925925899</c:v>
                </c:pt>
                <c:pt idx="32">
                  <c:v>5.7777777777777803</c:v>
                </c:pt>
                <c:pt idx="33">
                  <c:v>6.1111111111111098</c:v>
                </c:pt>
                <c:pt idx="34">
                  <c:v>6.1111111111111098</c:v>
                </c:pt>
                <c:pt idx="35">
                  <c:v>6.3703703703703702</c:v>
                </c:pt>
                <c:pt idx="36">
                  <c:v>6.5185185185185199</c:v>
                </c:pt>
                <c:pt idx="37">
                  <c:v>6.5925925925925899</c:v>
                </c:pt>
                <c:pt idx="38">
                  <c:v>6.6666666666666696</c:v>
                </c:pt>
                <c:pt idx="39">
                  <c:v>6.8148148148148104</c:v>
                </c:pt>
                <c:pt idx="40">
                  <c:v>6.8888888888888902</c:v>
                </c:pt>
                <c:pt idx="41">
                  <c:v>6.9629629629629601</c:v>
                </c:pt>
                <c:pt idx="42">
                  <c:v>7.1481481481481497</c:v>
                </c:pt>
                <c:pt idx="43">
                  <c:v>7.1851851851851896</c:v>
                </c:pt>
                <c:pt idx="44">
                  <c:v>7.2962962962963003</c:v>
                </c:pt>
                <c:pt idx="45">
                  <c:v>7.5185185185185199</c:v>
                </c:pt>
                <c:pt idx="46">
                  <c:v>7.6666666666666696</c:v>
                </c:pt>
                <c:pt idx="47">
                  <c:v>7.8148148148148104</c:v>
                </c:pt>
                <c:pt idx="48">
                  <c:v>8</c:v>
                </c:pt>
                <c:pt idx="49">
                  <c:v>8.0740740740740709</c:v>
                </c:pt>
                <c:pt idx="50">
                  <c:v>8.1851851851851904</c:v>
                </c:pt>
                <c:pt idx="51">
                  <c:v>8.2222222222222197</c:v>
                </c:pt>
                <c:pt idx="52">
                  <c:v>8.3333333333333304</c:v>
                </c:pt>
                <c:pt idx="53">
                  <c:v>8.4074074074074101</c:v>
                </c:pt>
                <c:pt idx="54">
                  <c:v>8.4814814814814792</c:v>
                </c:pt>
                <c:pt idx="55">
                  <c:v>8.5185185185185208</c:v>
                </c:pt>
                <c:pt idx="56">
                  <c:v>8.5555555555555607</c:v>
                </c:pt>
                <c:pt idx="57">
                  <c:v>8.666666666666669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9978-4293-98D2-722590E8F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4737912"/>
        <c:axId val="364732664"/>
      </c:scatterChart>
      <c:valAx>
        <c:axId val="364737912"/>
        <c:scaling>
          <c:orientation val="minMax"/>
          <c:max val="1440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DINPro-Medium" panose="02000503030000020004" pitchFamily="50" charset="0"/>
                    <a:ea typeface="+mn-ea"/>
                    <a:cs typeface="+mn-cs"/>
                  </a:defRPr>
                </a:pPr>
                <a:r>
                  <a:rPr lang="ru-RU"/>
                  <a:t>дней</a:t>
                </a:r>
                <a:endParaRPr lang="en-GB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DINPro-Medium" panose="02000503030000020004" pitchFamily="50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pPr>
            <a:endParaRPr lang="ru-RU"/>
          </a:p>
        </c:txPr>
        <c:crossAx val="364732664"/>
        <c:crosses val="autoZero"/>
        <c:crossBetween val="midCat"/>
        <c:majorUnit val="360"/>
      </c:valAx>
      <c:valAx>
        <c:axId val="36473266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DINPro-Medium" panose="02000503030000020004" pitchFamily="50" charset="0"/>
                    <a:ea typeface="+mn-ea"/>
                    <a:cs typeface="+mn-cs"/>
                  </a:defRPr>
                </a:pPr>
                <a:r>
                  <a:rPr lang="ru-RU"/>
                  <a:t>% пациентов с события</a:t>
                </a:r>
                <a:endParaRPr lang="en-GB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DINPro-Medium" panose="02000503030000020004" pitchFamily="50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pPr>
            <a:endParaRPr lang="ru-RU"/>
          </a:p>
        </c:txPr>
        <c:crossAx val="3647379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4076626130845662"/>
          <c:y val="0.52093371092842289"/>
          <c:w val="0.38946103898869655"/>
          <c:h val="0.157231932500436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INPro-Medium" panose="02000503030000020004" pitchFamily="50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DINPro-Medium" panose="02000503030000020004" pitchFamily="50" charset="0"/>
        </a:defRPr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80123657060691"/>
          <c:y val="0.11604074903389795"/>
          <c:w val="0.80767022618057505"/>
          <c:h val="0.76328258263763138"/>
        </c:manualLayout>
      </c:layout>
      <c:scatterChart>
        <c:scatterStyle val="lineMarker"/>
        <c:varyColors val="0"/>
        <c:ser>
          <c:idx val="0"/>
          <c:order val="0"/>
          <c:tx>
            <c:strRef>
              <c:f>'[ADA 2017 исходники.xlsx]Sheet1'!$A$4</c:f>
              <c:strCache>
                <c:ptCount val="1"/>
                <c:pt idx="0">
                  <c:v>Плацебо</c:v>
                </c:pt>
              </c:strCache>
            </c:strRef>
          </c:tx>
          <c:spPr>
            <a:ln w="4762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[ADA 2017 исходники.xlsx]Sheet1'!$A$5:$A$86</c:f>
              <c:numCache>
                <c:formatCode>General</c:formatCode>
                <c:ptCount val="82"/>
                <c:pt idx="0">
                  <c:v>0</c:v>
                </c:pt>
                <c:pt idx="1">
                  <c:v>4.7272727272727302</c:v>
                </c:pt>
                <c:pt idx="2">
                  <c:v>7.0909090909090899</c:v>
                </c:pt>
                <c:pt idx="3">
                  <c:v>9.4545454545454604</c:v>
                </c:pt>
                <c:pt idx="4">
                  <c:v>11.030303030302999</c:v>
                </c:pt>
                <c:pt idx="5">
                  <c:v>23.986531986532</c:v>
                </c:pt>
                <c:pt idx="6">
                  <c:v>28.013468013468</c:v>
                </c:pt>
                <c:pt idx="7">
                  <c:v>32.040404040403999</c:v>
                </c:pt>
                <c:pt idx="8">
                  <c:v>35.979797979798001</c:v>
                </c:pt>
                <c:pt idx="9">
                  <c:v>40.006734006734</c:v>
                </c:pt>
                <c:pt idx="10">
                  <c:v>44.033670033669999</c:v>
                </c:pt>
                <c:pt idx="11">
                  <c:v>47.973063973064001</c:v>
                </c:pt>
                <c:pt idx="12">
                  <c:v>52</c:v>
                </c:pt>
                <c:pt idx="13">
                  <c:v>56.026936026935999</c:v>
                </c:pt>
                <c:pt idx="14">
                  <c:v>59.966329966330001</c:v>
                </c:pt>
                <c:pt idx="15">
                  <c:v>63.993265993266</c:v>
                </c:pt>
                <c:pt idx="16">
                  <c:v>68.020202020202007</c:v>
                </c:pt>
                <c:pt idx="17">
                  <c:v>71.959595959596001</c:v>
                </c:pt>
                <c:pt idx="18">
                  <c:v>75.986531986532</c:v>
                </c:pt>
                <c:pt idx="19">
                  <c:v>80.013468013468</c:v>
                </c:pt>
                <c:pt idx="20">
                  <c:v>84.040404040403999</c:v>
                </c:pt>
                <c:pt idx="21">
                  <c:v>87.979797979797993</c:v>
                </c:pt>
                <c:pt idx="22">
                  <c:v>92.006734006734007</c:v>
                </c:pt>
                <c:pt idx="23">
                  <c:v>96.033670033670006</c:v>
                </c:pt>
                <c:pt idx="24">
                  <c:v>104</c:v>
                </c:pt>
                <c:pt idx="25">
                  <c:v>108.026936026936</c:v>
                </c:pt>
                <c:pt idx="26">
                  <c:v>111.96632996632999</c:v>
                </c:pt>
                <c:pt idx="27">
                  <c:v>123.959595959596</c:v>
                </c:pt>
                <c:pt idx="28">
                  <c:v>127.986531986532</c:v>
                </c:pt>
                <c:pt idx="29">
                  <c:v>132.01346801346801</c:v>
                </c:pt>
                <c:pt idx="30">
                  <c:v>136.04040404040401</c:v>
                </c:pt>
                <c:pt idx="31">
                  <c:v>144.00673400673401</c:v>
                </c:pt>
                <c:pt idx="32">
                  <c:v>148.03367003367001</c:v>
                </c:pt>
                <c:pt idx="33">
                  <c:v>151.973063973064</c:v>
                </c:pt>
                <c:pt idx="34">
                  <c:v>156</c:v>
                </c:pt>
                <c:pt idx="35">
                  <c:v>160.026936026936</c:v>
                </c:pt>
                <c:pt idx="36">
                  <c:v>163.96632996632999</c:v>
                </c:pt>
                <c:pt idx="37">
                  <c:v>167.99326599326599</c:v>
                </c:pt>
                <c:pt idx="38">
                  <c:v>184.01346801346801</c:v>
                </c:pt>
                <c:pt idx="39">
                  <c:v>188.04040404040401</c:v>
                </c:pt>
                <c:pt idx="40">
                  <c:v>196.00673400673401</c:v>
                </c:pt>
                <c:pt idx="41">
                  <c:v>200.03367003367001</c:v>
                </c:pt>
                <c:pt idx="42">
                  <c:v>203.973063973064</c:v>
                </c:pt>
                <c:pt idx="43">
                  <c:v>208</c:v>
                </c:pt>
                <c:pt idx="44">
                  <c:v>212.026936026936</c:v>
                </c:pt>
                <c:pt idx="45">
                  <c:v>215.96632996632999</c:v>
                </c:pt>
                <c:pt idx="46">
                  <c:v>219.99326599326599</c:v>
                </c:pt>
                <c:pt idx="47">
                  <c:v>224.02020202020199</c:v>
                </c:pt>
                <c:pt idx="48">
                  <c:v>227.95959595959599</c:v>
                </c:pt>
                <c:pt idx="49">
                  <c:v>231.98653198653199</c:v>
                </c:pt>
                <c:pt idx="50">
                  <c:v>236.01346801346801</c:v>
                </c:pt>
                <c:pt idx="51">
                  <c:v>240.04040404040401</c:v>
                </c:pt>
                <c:pt idx="52">
                  <c:v>243.97979797979801</c:v>
                </c:pt>
                <c:pt idx="53">
                  <c:v>248.00673400673401</c:v>
                </c:pt>
                <c:pt idx="54">
                  <c:v>252.03367003367001</c:v>
                </c:pt>
                <c:pt idx="55">
                  <c:v>260</c:v>
                </c:pt>
                <c:pt idx="56">
                  <c:v>264.02693602693603</c:v>
                </c:pt>
                <c:pt idx="57">
                  <c:v>267.96632996633002</c:v>
                </c:pt>
                <c:pt idx="58">
                  <c:v>271.99326599326599</c:v>
                </c:pt>
                <c:pt idx="59">
                  <c:v>276.02020202020202</c:v>
                </c:pt>
                <c:pt idx="60">
                  <c:v>279.95959595959602</c:v>
                </c:pt>
                <c:pt idx="61">
                  <c:v>283.98653198653199</c:v>
                </c:pt>
                <c:pt idx="62">
                  <c:v>288.01346801346801</c:v>
                </c:pt>
                <c:pt idx="63">
                  <c:v>292.04040404040398</c:v>
                </c:pt>
                <c:pt idx="64">
                  <c:v>295.97979797979798</c:v>
                </c:pt>
                <c:pt idx="65">
                  <c:v>300.00673400673401</c:v>
                </c:pt>
                <c:pt idx="66">
                  <c:v>304.03367003366998</c:v>
                </c:pt>
                <c:pt idx="67">
                  <c:v>307.97306397306397</c:v>
                </c:pt>
                <c:pt idx="68">
                  <c:v>312</c:v>
                </c:pt>
                <c:pt idx="69">
                  <c:v>319.87878787878799</c:v>
                </c:pt>
                <c:pt idx="70">
                  <c:v>321.45454545454498</c:v>
                </c:pt>
                <c:pt idx="71">
                  <c:v>322.24242424242402</c:v>
                </c:pt>
                <c:pt idx="72">
                  <c:v>322.24242424242402</c:v>
                </c:pt>
                <c:pt idx="73">
                  <c:v>326.969696969697</c:v>
                </c:pt>
                <c:pt idx="74">
                  <c:v>328.02020202020202</c:v>
                </c:pt>
                <c:pt idx="75">
                  <c:v>331.95959595959602</c:v>
                </c:pt>
                <c:pt idx="76">
                  <c:v>335.98653198653199</c:v>
                </c:pt>
                <c:pt idx="77">
                  <c:v>344.04040404040398</c:v>
                </c:pt>
                <c:pt idx="78">
                  <c:v>345.87878787878799</c:v>
                </c:pt>
                <c:pt idx="79">
                  <c:v>345.87878787878799</c:v>
                </c:pt>
                <c:pt idx="80">
                  <c:v>349.030303030303</c:v>
                </c:pt>
                <c:pt idx="81">
                  <c:v>349.030303030303</c:v>
                </c:pt>
              </c:numCache>
            </c:numRef>
          </c:xVal>
          <c:yVal>
            <c:numRef>
              <c:f>'[ADA 2017 исходники.xlsx]Sheet1'!$B$5:$B$86</c:f>
              <c:numCache>
                <c:formatCode>General</c:formatCode>
                <c:ptCount val="82"/>
                <c:pt idx="0">
                  <c:v>9.1743119266055106E-2</c:v>
                </c:pt>
                <c:pt idx="1">
                  <c:v>0.45871559633027498</c:v>
                </c:pt>
                <c:pt idx="2">
                  <c:v>0.64220183486238502</c:v>
                </c:pt>
                <c:pt idx="3">
                  <c:v>0.82568807339449501</c:v>
                </c:pt>
                <c:pt idx="4">
                  <c:v>0.91743119266055095</c:v>
                </c:pt>
                <c:pt idx="5">
                  <c:v>1.82466870540265</c:v>
                </c:pt>
                <c:pt idx="6">
                  <c:v>2.0998980632008202</c:v>
                </c:pt>
                <c:pt idx="7">
                  <c:v>2.2018348623853199</c:v>
                </c:pt>
                <c:pt idx="8">
                  <c:v>2.47706422018349</c:v>
                </c:pt>
                <c:pt idx="9">
                  <c:v>2.5280326197757401</c:v>
                </c:pt>
                <c:pt idx="10">
                  <c:v>2.7420998980631999</c:v>
                </c:pt>
                <c:pt idx="11">
                  <c:v>2.94597349643221</c:v>
                </c:pt>
                <c:pt idx="12">
                  <c:v>3.3027522935779801</c:v>
                </c:pt>
                <c:pt idx="13">
                  <c:v>3.5168195718654398</c:v>
                </c:pt>
                <c:pt idx="14">
                  <c:v>3.7104994903159998</c:v>
                </c:pt>
                <c:pt idx="15">
                  <c:v>3.9551478083588201</c:v>
                </c:pt>
                <c:pt idx="16">
                  <c:v>4.1692150866462798</c:v>
                </c:pt>
                <c:pt idx="17">
                  <c:v>4.34250764525994</c:v>
                </c:pt>
                <c:pt idx="18">
                  <c:v>4.5158002038736003</c:v>
                </c:pt>
                <c:pt idx="19">
                  <c:v>4.7094801223241598</c:v>
                </c:pt>
                <c:pt idx="20">
                  <c:v>5.0050968399592302</c:v>
                </c:pt>
                <c:pt idx="21">
                  <c:v>5.3109072375127404</c:v>
                </c:pt>
                <c:pt idx="22">
                  <c:v>5.5657492354740103</c:v>
                </c:pt>
                <c:pt idx="23">
                  <c:v>5.8511722731906204</c:v>
                </c:pt>
                <c:pt idx="24">
                  <c:v>6.3302752293577997</c:v>
                </c:pt>
                <c:pt idx="25">
                  <c:v>6.5341488277268098</c:v>
                </c:pt>
                <c:pt idx="26">
                  <c:v>6.6258919469928603</c:v>
                </c:pt>
                <c:pt idx="27">
                  <c:v>7.5840978593272199</c:v>
                </c:pt>
                <c:pt idx="28">
                  <c:v>7.7166156982670699</c:v>
                </c:pt>
                <c:pt idx="29">
                  <c:v>7.94087665647299</c:v>
                </c:pt>
                <c:pt idx="30">
                  <c:v>8.1753312945973509</c:v>
                </c:pt>
                <c:pt idx="31">
                  <c:v>8.5728848114169196</c:v>
                </c:pt>
                <c:pt idx="32">
                  <c:v>8.7665647298674791</c:v>
                </c:pt>
                <c:pt idx="33">
                  <c:v>8.9908256880733894</c:v>
                </c:pt>
                <c:pt idx="34">
                  <c:v>9.1029561671763499</c:v>
                </c:pt>
                <c:pt idx="35">
                  <c:v>9.3170234454638106</c:v>
                </c:pt>
                <c:pt idx="36">
                  <c:v>9.5310907237512694</c:v>
                </c:pt>
                <c:pt idx="37">
                  <c:v>9.5208970438328198</c:v>
                </c:pt>
                <c:pt idx="38">
                  <c:v>10.234454638124401</c:v>
                </c:pt>
                <c:pt idx="39">
                  <c:v>10.4791029561672</c:v>
                </c:pt>
                <c:pt idx="40">
                  <c:v>10.672782874617701</c:v>
                </c:pt>
                <c:pt idx="41">
                  <c:v>10.8970438328237</c:v>
                </c:pt>
                <c:pt idx="42">
                  <c:v>11.0703363914373</c:v>
                </c:pt>
                <c:pt idx="43">
                  <c:v>11.182466870540299</c:v>
                </c:pt>
                <c:pt idx="44">
                  <c:v>11.457696228338399</c:v>
                </c:pt>
                <c:pt idx="45">
                  <c:v>11.773700305810401</c:v>
                </c:pt>
                <c:pt idx="46">
                  <c:v>11.855249745158</c:v>
                </c:pt>
                <c:pt idx="47">
                  <c:v>11.9164118246687</c:v>
                </c:pt>
                <c:pt idx="48">
                  <c:v>12.1508664627931</c:v>
                </c:pt>
                <c:pt idx="49">
                  <c:v>12.262996941896001</c:v>
                </c:pt>
                <c:pt idx="50">
                  <c:v>12.8644240570846</c:v>
                </c:pt>
                <c:pt idx="51">
                  <c:v>13.0275229357798</c:v>
                </c:pt>
                <c:pt idx="52">
                  <c:v>13.2313965341488</c:v>
                </c:pt>
                <c:pt idx="53">
                  <c:v>13.5575942915392</c:v>
                </c:pt>
                <c:pt idx="54">
                  <c:v>13.659531090723799</c:v>
                </c:pt>
                <c:pt idx="55">
                  <c:v>13.934760448521899</c:v>
                </c:pt>
                <c:pt idx="56">
                  <c:v>14.230377166157</c:v>
                </c:pt>
                <c:pt idx="57">
                  <c:v>14.6890927624873</c:v>
                </c:pt>
                <c:pt idx="58">
                  <c:v>14.750254841998</c:v>
                </c:pt>
                <c:pt idx="59">
                  <c:v>14.791029561671801</c:v>
                </c:pt>
                <c:pt idx="60">
                  <c:v>14.9847094801223</c:v>
                </c:pt>
                <c:pt idx="61">
                  <c:v>15.198776758409799</c:v>
                </c:pt>
                <c:pt idx="62">
                  <c:v>15.3822629969419</c:v>
                </c:pt>
                <c:pt idx="63">
                  <c:v>15.586136595310901</c:v>
                </c:pt>
                <c:pt idx="64">
                  <c:v>15.851172273190601</c:v>
                </c:pt>
                <c:pt idx="65">
                  <c:v>15.912334352701301</c:v>
                </c:pt>
                <c:pt idx="66">
                  <c:v>16.126401630988799</c:v>
                </c:pt>
                <c:pt idx="67">
                  <c:v>16.218144750254801</c:v>
                </c:pt>
                <c:pt idx="68">
                  <c:v>16.452599388379198</c:v>
                </c:pt>
                <c:pt idx="69">
                  <c:v>16.422018348623901</c:v>
                </c:pt>
                <c:pt idx="70">
                  <c:v>16.880733944954098</c:v>
                </c:pt>
                <c:pt idx="71">
                  <c:v>16.880733944954098</c:v>
                </c:pt>
                <c:pt idx="72">
                  <c:v>17.064220183486199</c:v>
                </c:pt>
                <c:pt idx="73">
                  <c:v>17.064220183486199</c:v>
                </c:pt>
                <c:pt idx="74">
                  <c:v>17.135575942915398</c:v>
                </c:pt>
                <c:pt idx="75">
                  <c:v>17.441386340468899</c:v>
                </c:pt>
                <c:pt idx="76">
                  <c:v>18.0530071355759</c:v>
                </c:pt>
                <c:pt idx="77">
                  <c:v>18.114169215086601</c:v>
                </c:pt>
                <c:pt idx="78">
                  <c:v>18.165137614678901</c:v>
                </c:pt>
                <c:pt idx="79">
                  <c:v>19.082568807339399</c:v>
                </c:pt>
                <c:pt idx="80">
                  <c:v>19.082568807339399</c:v>
                </c:pt>
                <c:pt idx="81">
                  <c:v>20.1834862385321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8D4-4D39-B968-775DB0CA2120}"/>
            </c:ext>
          </c:extLst>
        </c:ser>
        <c:ser>
          <c:idx val="1"/>
          <c:order val="1"/>
          <c:tx>
            <c:strRef>
              <c:f>'[ADA 2017 исходники.xlsx]Sheet1'!$D$4</c:f>
              <c:strCache>
                <c:ptCount val="1"/>
                <c:pt idx="0">
                  <c:v>Канаглифлозин</c:v>
                </c:pt>
              </c:strCache>
            </c:strRef>
          </c:tx>
          <c:spPr>
            <a:ln w="47625"/>
          </c:spPr>
          <c:marker>
            <c:symbol val="none"/>
          </c:marker>
          <c:xVal>
            <c:numRef>
              <c:f>'[ADA 2017 исходники.xlsx]Sheet1'!$D$5:$D$118</c:f>
              <c:numCache>
                <c:formatCode>General</c:formatCode>
                <c:ptCount val="114"/>
                <c:pt idx="0">
                  <c:v>0</c:v>
                </c:pt>
                <c:pt idx="1">
                  <c:v>4.7272727272727302</c:v>
                </c:pt>
                <c:pt idx="2">
                  <c:v>7.0909090909090899</c:v>
                </c:pt>
                <c:pt idx="3">
                  <c:v>11.030303030302999</c:v>
                </c:pt>
                <c:pt idx="4">
                  <c:v>15.7575757575758</c:v>
                </c:pt>
                <c:pt idx="5">
                  <c:v>18.1212121212121</c:v>
                </c:pt>
                <c:pt idx="6">
                  <c:v>20.484848484848499</c:v>
                </c:pt>
                <c:pt idx="7">
                  <c:v>23.636363636363601</c:v>
                </c:pt>
                <c:pt idx="8">
                  <c:v>26.7878787878788</c:v>
                </c:pt>
                <c:pt idx="9">
                  <c:v>30.727272727272702</c:v>
                </c:pt>
                <c:pt idx="10">
                  <c:v>34.6666666666667</c:v>
                </c:pt>
                <c:pt idx="11">
                  <c:v>37.030303030303003</c:v>
                </c:pt>
                <c:pt idx="12">
                  <c:v>40.181818181818201</c:v>
                </c:pt>
                <c:pt idx="13">
                  <c:v>45.696969696969703</c:v>
                </c:pt>
                <c:pt idx="14">
                  <c:v>48.060606060606098</c:v>
                </c:pt>
                <c:pt idx="15">
                  <c:v>52</c:v>
                </c:pt>
                <c:pt idx="16">
                  <c:v>55.151515151515099</c:v>
                </c:pt>
                <c:pt idx="17">
                  <c:v>58.303030303030297</c:v>
                </c:pt>
                <c:pt idx="18">
                  <c:v>62.2424242424242</c:v>
                </c:pt>
                <c:pt idx="19">
                  <c:v>63.818181818181799</c:v>
                </c:pt>
                <c:pt idx="20">
                  <c:v>67.757575757575793</c:v>
                </c:pt>
                <c:pt idx="21">
                  <c:v>71.696969696969703</c:v>
                </c:pt>
                <c:pt idx="22">
                  <c:v>74.848484848484802</c:v>
                </c:pt>
                <c:pt idx="23">
                  <c:v>79.575757575757606</c:v>
                </c:pt>
                <c:pt idx="24">
                  <c:v>83.515151515151501</c:v>
                </c:pt>
                <c:pt idx="25">
                  <c:v>88.242424242424207</c:v>
                </c:pt>
                <c:pt idx="26">
                  <c:v>92.969696969696997</c:v>
                </c:pt>
                <c:pt idx="27">
                  <c:v>95.3333333333333</c:v>
                </c:pt>
                <c:pt idx="28">
                  <c:v>98.484848484848499</c:v>
                </c:pt>
                <c:pt idx="29">
                  <c:v>100.848484848485</c:v>
                </c:pt>
                <c:pt idx="30">
                  <c:v>104</c:v>
                </c:pt>
                <c:pt idx="31">
                  <c:v>107.151515151515</c:v>
                </c:pt>
                <c:pt idx="32">
                  <c:v>111.09090909090899</c:v>
                </c:pt>
                <c:pt idx="33">
                  <c:v>114.24242424242399</c:v>
                </c:pt>
                <c:pt idx="34">
                  <c:v>117.39393939393899</c:v>
                </c:pt>
                <c:pt idx="35">
                  <c:v>119.75757575757601</c:v>
                </c:pt>
                <c:pt idx="36">
                  <c:v>123.69696969697</c:v>
                </c:pt>
                <c:pt idx="37">
                  <c:v>125.272727272727</c:v>
                </c:pt>
                <c:pt idx="38">
                  <c:v>128.42424242424201</c:v>
                </c:pt>
                <c:pt idx="39">
                  <c:v>130.78787878787901</c:v>
                </c:pt>
                <c:pt idx="40">
                  <c:v>136.30303030303</c:v>
                </c:pt>
                <c:pt idx="41">
                  <c:v>138.666666666667</c:v>
                </c:pt>
                <c:pt idx="42">
                  <c:v>141.81818181818201</c:v>
                </c:pt>
                <c:pt idx="43">
                  <c:v>146.54545454545499</c:v>
                </c:pt>
                <c:pt idx="44">
                  <c:v>151.272727272727</c:v>
                </c:pt>
                <c:pt idx="45">
                  <c:v>153.636363636364</c:v>
                </c:pt>
                <c:pt idx="46">
                  <c:v>159.15151515151501</c:v>
                </c:pt>
                <c:pt idx="47">
                  <c:v>164.666666666667</c:v>
                </c:pt>
                <c:pt idx="48">
                  <c:v>168.60606060606099</c:v>
                </c:pt>
                <c:pt idx="49">
                  <c:v>172.54545454545499</c:v>
                </c:pt>
                <c:pt idx="50">
                  <c:v>176.48484848484799</c:v>
                </c:pt>
                <c:pt idx="51">
                  <c:v>178.06060606060601</c:v>
                </c:pt>
                <c:pt idx="52">
                  <c:v>184.363636363636</c:v>
                </c:pt>
                <c:pt idx="53">
                  <c:v>187.51515151515201</c:v>
                </c:pt>
                <c:pt idx="54">
                  <c:v>190.666666666667</c:v>
                </c:pt>
                <c:pt idx="55">
                  <c:v>193.81818181818201</c:v>
                </c:pt>
                <c:pt idx="56">
                  <c:v>200.12121212121201</c:v>
                </c:pt>
                <c:pt idx="57">
                  <c:v>202.48484848484901</c:v>
                </c:pt>
                <c:pt idx="58">
                  <c:v>204.84848484848499</c:v>
                </c:pt>
                <c:pt idx="59">
                  <c:v>208.78787878787901</c:v>
                </c:pt>
                <c:pt idx="60">
                  <c:v>213.51515151515201</c:v>
                </c:pt>
                <c:pt idx="61">
                  <c:v>215.87878787878799</c:v>
                </c:pt>
                <c:pt idx="62">
                  <c:v>219.030303030303</c:v>
                </c:pt>
                <c:pt idx="63">
                  <c:v>221.39393939393901</c:v>
                </c:pt>
                <c:pt idx="64">
                  <c:v>225.333333333333</c:v>
                </c:pt>
                <c:pt idx="65">
                  <c:v>228.48484848484799</c:v>
                </c:pt>
                <c:pt idx="66">
                  <c:v>230.84848484848499</c:v>
                </c:pt>
                <c:pt idx="67">
                  <c:v>234</c:v>
                </c:pt>
                <c:pt idx="68">
                  <c:v>235.57575757575799</c:v>
                </c:pt>
                <c:pt idx="69">
                  <c:v>235.57575757575799</c:v>
                </c:pt>
                <c:pt idx="70">
                  <c:v>240.30303030303</c:v>
                </c:pt>
                <c:pt idx="71">
                  <c:v>242.666666666667</c:v>
                </c:pt>
                <c:pt idx="72">
                  <c:v>245.030303030303</c:v>
                </c:pt>
                <c:pt idx="73">
                  <c:v>248.18181818181799</c:v>
                </c:pt>
                <c:pt idx="74">
                  <c:v>250.54545454545499</c:v>
                </c:pt>
                <c:pt idx="75">
                  <c:v>252.90909090909099</c:v>
                </c:pt>
                <c:pt idx="76">
                  <c:v>256.06060606060601</c:v>
                </c:pt>
                <c:pt idx="77">
                  <c:v>258.42424242424198</c:v>
                </c:pt>
                <c:pt idx="78">
                  <c:v>260.78787878787898</c:v>
                </c:pt>
                <c:pt idx="79">
                  <c:v>262.36363636363598</c:v>
                </c:pt>
                <c:pt idx="80">
                  <c:v>265.51515151515201</c:v>
                </c:pt>
                <c:pt idx="81">
                  <c:v>269.45454545454498</c:v>
                </c:pt>
                <c:pt idx="82">
                  <c:v>271.81818181818198</c:v>
                </c:pt>
                <c:pt idx="83">
                  <c:v>275.75757575757598</c:v>
                </c:pt>
                <c:pt idx="84">
                  <c:v>278.90909090909099</c:v>
                </c:pt>
                <c:pt idx="85">
                  <c:v>280.48484848484901</c:v>
                </c:pt>
                <c:pt idx="86">
                  <c:v>286</c:v>
                </c:pt>
                <c:pt idx="87">
                  <c:v>289.15151515151501</c:v>
                </c:pt>
                <c:pt idx="88">
                  <c:v>294.66666666666703</c:v>
                </c:pt>
                <c:pt idx="89">
                  <c:v>295.45454545454601</c:v>
                </c:pt>
                <c:pt idx="90">
                  <c:v>300.18181818181802</c:v>
                </c:pt>
                <c:pt idx="91">
                  <c:v>303.33333333333297</c:v>
                </c:pt>
                <c:pt idx="92">
                  <c:v>307.27272727272702</c:v>
                </c:pt>
                <c:pt idx="93">
                  <c:v>309.63636363636402</c:v>
                </c:pt>
                <c:pt idx="94">
                  <c:v>312.78787878787898</c:v>
                </c:pt>
                <c:pt idx="95">
                  <c:v>316.72727272727298</c:v>
                </c:pt>
                <c:pt idx="96">
                  <c:v>318.30303030303003</c:v>
                </c:pt>
                <c:pt idx="97">
                  <c:v>320.66666666666703</c:v>
                </c:pt>
                <c:pt idx="98">
                  <c:v>323.030303030303</c:v>
                </c:pt>
                <c:pt idx="99">
                  <c:v>326.18181818181802</c:v>
                </c:pt>
                <c:pt idx="100">
                  <c:v>329.33333333333297</c:v>
                </c:pt>
                <c:pt idx="101">
                  <c:v>330.12121212121201</c:v>
                </c:pt>
                <c:pt idx="102">
                  <c:v>333.27272727272702</c:v>
                </c:pt>
                <c:pt idx="103">
                  <c:v>335.63636363636402</c:v>
                </c:pt>
                <c:pt idx="104">
                  <c:v>338</c:v>
                </c:pt>
                <c:pt idx="105">
                  <c:v>339.57575757575802</c:v>
                </c:pt>
                <c:pt idx="106">
                  <c:v>341.15151515151501</c:v>
                </c:pt>
                <c:pt idx="107">
                  <c:v>342.72727272727298</c:v>
                </c:pt>
                <c:pt idx="108">
                  <c:v>348.24242424242402</c:v>
                </c:pt>
                <c:pt idx="109">
                  <c:v>348.24242424242402</c:v>
                </c:pt>
                <c:pt idx="110">
                  <c:v>351.39393939393898</c:v>
                </c:pt>
                <c:pt idx="111">
                  <c:v>351.39393939393898</c:v>
                </c:pt>
                <c:pt idx="112">
                  <c:v>351.39393939393898</c:v>
                </c:pt>
                <c:pt idx="113">
                  <c:v>356.12121212121201</c:v>
                </c:pt>
              </c:numCache>
            </c:numRef>
          </c:xVal>
          <c:yVal>
            <c:numRef>
              <c:f>'[ADA 2017 исходники.xlsx]Sheet1'!$E$5:$E$118</c:f>
              <c:numCache>
                <c:formatCode>General</c:formatCode>
                <c:ptCount val="114"/>
                <c:pt idx="0">
                  <c:v>9.1743119266055106E-2</c:v>
                </c:pt>
                <c:pt idx="1">
                  <c:v>0.27522935779816499</c:v>
                </c:pt>
                <c:pt idx="2">
                  <c:v>0.45871559633027498</c:v>
                </c:pt>
                <c:pt idx="3">
                  <c:v>0.64220183486238502</c:v>
                </c:pt>
                <c:pt idx="4">
                  <c:v>0.82568807339449501</c:v>
                </c:pt>
                <c:pt idx="5">
                  <c:v>1.0091743119266099</c:v>
                </c:pt>
                <c:pt idx="6">
                  <c:v>1.19266055045872</c:v>
                </c:pt>
                <c:pt idx="7">
                  <c:v>1.3761467889908301</c:v>
                </c:pt>
                <c:pt idx="8">
                  <c:v>1.55963302752294</c:v>
                </c:pt>
                <c:pt idx="9">
                  <c:v>1.65137614678899</c:v>
                </c:pt>
                <c:pt idx="10">
                  <c:v>1.7431192660550501</c:v>
                </c:pt>
                <c:pt idx="11">
                  <c:v>1.8348623853210999</c:v>
                </c:pt>
                <c:pt idx="12">
                  <c:v>1.92660550458716</c:v>
                </c:pt>
                <c:pt idx="13">
                  <c:v>2.2935779816513802</c:v>
                </c:pt>
                <c:pt idx="14">
                  <c:v>2.47706422018349</c:v>
                </c:pt>
                <c:pt idx="15">
                  <c:v>2.6605504587155999</c:v>
                </c:pt>
                <c:pt idx="16">
                  <c:v>2.75229357798165</c:v>
                </c:pt>
                <c:pt idx="17">
                  <c:v>2.9357798165137599</c:v>
                </c:pt>
                <c:pt idx="18">
                  <c:v>3.0275229357798201</c:v>
                </c:pt>
                <c:pt idx="19">
                  <c:v>3.21100917431193</c:v>
                </c:pt>
                <c:pt idx="20">
                  <c:v>3.3944954128440399</c:v>
                </c:pt>
                <c:pt idx="21">
                  <c:v>3.5779816513761502</c:v>
                </c:pt>
                <c:pt idx="22">
                  <c:v>3.8532110091743101</c:v>
                </c:pt>
                <c:pt idx="23">
                  <c:v>3.94495412844037</c:v>
                </c:pt>
                <c:pt idx="24">
                  <c:v>4.1284403669724803</c:v>
                </c:pt>
                <c:pt idx="25">
                  <c:v>4.4036697247706398</c:v>
                </c:pt>
                <c:pt idx="26">
                  <c:v>4.4036697247706398</c:v>
                </c:pt>
                <c:pt idx="27">
                  <c:v>4.5871559633027497</c:v>
                </c:pt>
                <c:pt idx="28">
                  <c:v>4.6788990825688099</c:v>
                </c:pt>
                <c:pt idx="29">
                  <c:v>4.8623853211009198</c:v>
                </c:pt>
                <c:pt idx="30">
                  <c:v>4.9541284403669703</c:v>
                </c:pt>
                <c:pt idx="31">
                  <c:v>5.1376146788990802</c:v>
                </c:pt>
                <c:pt idx="32">
                  <c:v>5.3211009174311901</c:v>
                </c:pt>
                <c:pt idx="33">
                  <c:v>5.5045871559632999</c:v>
                </c:pt>
                <c:pt idx="34">
                  <c:v>5.6880733944954098</c:v>
                </c:pt>
                <c:pt idx="35">
                  <c:v>5.8715596330275197</c:v>
                </c:pt>
                <c:pt idx="36">
                  <c:v>5.8715596330275197</c:v>
                </c:pt>
                <c:pt idx="37">
                  <c:v>6.0550458715596296</c:v>
                </c:pt>
                <c:pt idx="38">
                  <c:v>6.1467889908256899</c:v>
                </c:pt>
                <c:pt idx="39">
                  <c:v>6.2385321100917404</c:v>
                </c:pt>
                <c:pt idx="40">
                  <c:v>6.4220183486238502</c:v>
                </c:pt>
                <c:pt idx="41">
                  <c:v>6.6055045871559601</c:v>
                </c:pt>
                <c:pt idx="42">
                  <c:v>6.8807339449541303</c:v>
                </c:pt>
                <c:pt idx="43">
                  <c:v>6.9724770642201799</c:v>
                </c:pt>
                <c:pt idx="44">
                  <c:v>7.24770642201835</c:v>
                </c:pt>
                <c:pt idx="45">
                  <c:v>7.4311926605504599</c:v>
                </c:pt>
                <c:pt idx="46">
                  <c:v>7.5229357798165104</c:v>
                </c:pt>
                <c:pt idx="47">
                  <c:v>7.7064220183486203</c:v>
                </c:pt>
                <c:pt idx="48">
                  <c:v>7.8899082568807302</c:v>
                </c:pt>
                <c:pt idx="49">
                  <c:v>8.1651376146788994</c:v>
                </c:pt>
                <c:pt idx="50">
                  <c:v>8.1651376146788994</c:v>
                </c:pt>
                <c:pt idx="51">
                  <c:v>8.4403669724770705</c:v>
                </c:pt>
                <c:pt idx="52">
                  <c:v>8.7155963302752308</c:v>
                </c:pt>
                <c:pt idx="53">
                  <c:v>8.8073394495412796</c:v>
                </c:pt>
                <c:pt idx="54">
                  <c:v>8.8990825688073407</c:v>
                </c:pt>
                <c:pt idx="55">
                  <c:v>9.0825688073394506</c:v>
                </c:pt>
                <c:pt idx="56">
                  <c:v>9.3577981651376092</c:v>
                </c:pt>
                <c:pt idx="57">
                  <c:v>9.4495412844036704</c:v>
                </c:pt>
                <c:pt idx="58">
                  <c:v>9.7247706422018396</c:v>
                </c:pt>
                <c:pt idx="59">
                  <c:v>9.9082568807339495</c:v>
                </c:pt>
                <c:pt idx="60">
                  <c:v>10</c:v>
                </c:pt>
                <c:pt idx="61">
                  <c:v>10.183486238532099</c:v>
                </c:pt>
                <c:pt idx="62">
                  <c:v>10.3669724770642</c:v>
                </c:pt>
                <c:pt idx="63">
                  <c:v>10.550458715596299</c:v>
                </c:pt>
                <c:pt idx="64">
                  <c:v>10.6422018348624</c:v>
                </c:pt>
                <c:pt idx="65">
                  <c:v>10.6422018348624</c:v>
                </c:pt>
                <c:pt idx="66">
                  <c:v>10.825688073394501</c:v>
                </c:pt>
                <c:pt idx="67">
                  <c:v>10.9174311926605</c:v>
                </c:pt>
                <c:pt idx="68">
                  <c:v>10.9174311926605</c:v>
                </c:pt>
                <c:pt idx="69">
                  <c:v>11.192660550458699</c:v>
                </c:pt>
                <c:pt idx="70">
                  <c:v>11.192660550458699</c:v>
                </c:pt>
                <c:pt idx="71">
                  <c:v>11.3761467889908</c:v>
                </c:pt>
                <c:pt idx="72">
                  <c:v>11.559633027522899</c:v>
                </c:pt>
                <c:pt idx="73">
                  <c:v>11.651376146789</c:v>
                </c:pt>
                <c:pt idx="74">
                  <c:v>11.834862385321101</c:v>
                </c:pt>
                <c:pt idx="75">
                  <c:v>11.926605504587201</c:v>
                </c:pt>
                <c:pt idx="76">
                  <c:v>12.1100917431193</c:v>
                </c:pt>
                <c:pt idx="77">
                  <c:v>12.293577981651399</c:v>
                </c:pt>
                <c:pt idx="78">
                  <c:v>12.568807339449499</c:v>
                </c:pt>
                <c:pt idx="79">
                  <c:v>12.7522935779817</c:v>
                </c:pt>
                <c:pt idx="80">
                  <c:v>12.935779816513801</c:v>
                </c:pt>
                <c:pt idx="81">
                  <c:v>13.0275229357798</c:v>
                </c:pt>
                <c:pt idx="82">
                  <c:v>13.211009174311901</c:v>
                </c:pt>
                <c:pt idx="83">
                  <c:v>13.211009174311901</c:v>
                </c:pt>
                <c:pt idx="84">
                  <c:v>13.302752293577999</c:v>
                </c:pt>
                <c:pt idx="85">
                  <c:v>13.4862385321101</c:v>
                </c:pt>
                <c:pt idx="86">
                  <c:v>13.577981651376099</c:v>
                </c:pt>
                <c:pt idx="87">
                  <c:v>13.8532110091743</c:v>
                </c:pt>
                <c:pt idx="88">
                  <c:v>13.8532110091743</c:v>
                </c:pt>
                <c:pt idx="89">
                  <c:v>14.0366972477064</c:v>
                </c:pt>
                <c:pt idx="90">
                  <c:v>14.4036697247706</c:v>
                </c:pt>
                <c:pt idx="91">
                  <c:v>14.5871559633028</c:v>
                </c:pt>
                <c:pt idx="92">
                  <c:v>14.678899082568799</c:v>
                </c:pt>
                <c:pt idx="93">
                  <c:v>14.8623853211009</c:v>
                </c:pt>
                <c:pt idx="94">
                  <c:v>15.045871559632999</c:v>
                </c:pt>
                <c:pt idx="95">
                  <c:v>15.1376146788991</c:v>
                </c:pt>
                <c:pt idx="96">
                  <c:v>15.321100917431201</c:v>
                </c:pt>
                <c:pt idx="97">
                  <c:v>15.4128440366972</c:v>
                </c:pt>
                <c:pt idx="98">
                  <c:v>15.5045871559633</c:v>
                </c:pt>
                <c:pt idx="99">
                  <c:v>15.5963302752294</c:v>
                </c:pt>
                <c:pt idx="100">
                  <c:v>15.5963302752294</c:v>
                </c:pt>
                <c:pt idx="101">
                  <c:v>15.9633027522936</c:v>
                </c:pt>
                <c:pt idx="102">
                  <c:v>15.9633027522936</c:v>
                </c:pt>
                <c:pt idx="103">
                  <c:v>16.2385321100917</c:v>
                </c:pt>
                <c:pt idx="104">
                  <c:v>16.330275229357799</c:v>
                </c:pt>
                <c:pt idx="105">
                  <c:v>16.5137614678899</c:v>
                </c:pt>
                <c:pt idx="106">
                  <c:v>16.697247706422001</c:v>
                </c:pt>
                <c:pt idx="107">
                  <c:v>16.880733944954098</c:v>
                </c:pt>
                <c:pt idx="108">
                  <c:v>16.9724770642202</c:v>
                </c:pt>
                <c:pt idx="109">
                  <c:v>17.339449541284399</c:v>
                </c:pt>
                <c:pt idx="110">
                  <c:v>17.339449541284399</c:v>
                </c:pt>
                <c:pt idx="111">
                  <c:v>17.798165137614699</c:v>
                </c:pt>
                <c:pt idx="112">
                  <c:v>17.889908256880702</c:v>
                </c:pt>
                <c:pt idx="113">
                  <c:v>17.8899082568807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D8D4-4D39-B968-775DB0CA21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58294464"/>
        <c:axId val="558293152"/>
      </c:scatterChart>
      <c:valAx>
        <c:axId val="558294464"/>
        <c:scaling>
          <c:orientation val="minMax"/>
          <c:max val="370"/>
          <c:min val="0"/>
        </c:scaling>
        <c:delete val="0"/>
        <c:axPos val="b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ru-RU"/>
                  <a:t>недель</a:t>
                </a:r>
              </a:p>
            </c:rich>
          </c:tx>
          <c:layout>
            <c:manualLayout>
              <c:xMode val="edge"/>
              <c:yMode val="edge"/>
              <c:x val="0.88717431704503757"/>
              <c:y val="0.94168895254378782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 w="34925" cap="flat" cmpd="sng" algn="ctr">
            <a:solidFill>
              <a:schemeClr val="tx2"/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8293152"/>
        <c:crosses val="autoZero"/>
        <c:crossBetween val="midCat"/>
        <c:majorUnit val="52"/>
      </c:valAx>
      <c:valAx>
        <c:axId val="558293152"/>
        <c:scaling>
          <c:orientation val="minMax"/>
          <c:max val="2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Patients</a:t>
                </a:r>
                <a:r>
                  <a:rPr lang="ru-RU"/>
                  <a:t> </a:t>
                </a:r>
                <a:r>
                  <a:rPr lang="en-US"/>
                  <a:t>withan</a:t>
                </a:r>
                <a:r>
                  <a:rPr lang="ru-RU"/>
                  <a:t> </a:t>
                </a:r>
                <a:r>
                  <a:rPr lang="en-US"/>
                  <a:t>Event</a:t>
                </a:r>
                <a:r>
                  <a:rPr lang="ru-RU"/>
                  <a:t> </a:t>
                </a:r>
                <a:r>
                  <a:rPr lang="en-US"/>
                  <a:t>(%) 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 w="31750">
            <a:solidFill>
              <a:schemeClr val="tx2"/>
            </a:solidFill>
          </a:ln>
          <a:effectLst/>
        </c:spPr>
        <c:txPr>
          <a:bodyPr rot="-60000000" vert="horz"/>
          <a:lstStyle/>
          <a:p>
            <a:pPr>
              <a:defRPr/>
            </a:pPr>
            <a:endParaRPr lang="ru-RU"/>
          </a:p>
        </c:txPr>
        <c:crossAx val="558294464"/>
        <c:crosses val="autoZero"/>
        <c:crossBetween val="midCat"/>
      </c:valAx>
    </c:plotArea>
    <c:legend>
      <c:legendPos val="b"/>
      <c:layout>
        <c:manualLayout>
          <c:xMode val="edge"/>
          <c:yMode val="edge"/>
          <c:x val="0.40550585018505986"/>
          <c:y val="0.79012899825196503"/>
          <c:w val="0.56228538862553734"/>
          <c:h val="6.3220140390871413E-2"/>
        </c:manualLayout>
      </c:layout>
      <c:overlay val="0"/>
      <c:spPr>
        <a:noFill/>
        <a:ln>
          <a:noFill/>
        </a:ln>
        <a:effectLst/>
      </c:spPr>
      <c:txPr>
        <a:bodyPr rot="0" vert="horz"/>
        <a:lstStyle/>
        <a:p>
          <a:pPr>
            <a:defRPr/>
          </a:pPr>
          <a:endParaRPr lang="ru-RU"/>
        </a:p>
      </c:txPr>
    </c:legend>
    <c:plotVisOnly val="1"/>
    <c:dispBlanksAs val="zero"/>
    <c:showDLblsOverMax val="0"/>
  </c:chart>
  <c:txPr>
    <a:bodyPr/>
    <a:lstStyle/>
    <a:p>
      <a:pPr>
        <a:defRPr sz="1400">
          <a:solidFill>
            <a:schemeClr val="tx2"/>
          </a:solidFill>
        </a:defRPr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340204733422007"/>
          <c:y val="6.6242472649541903E-2"/>
          <c:w val="0.7991113334979012"/>
          <c:h val="0.7879817568882175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I$4</c:f>
              <c:strCache>
                <c:ptCount val="1"/>
                <c:pt idx="0">
                  <c:v>Плацебо</c:v>
                </c:pt>
              </c:strCache>
            </c:strRef>
          </c:tx>
          <c:spPr>
            <a:ln w="412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Sheet1!$I$5:$I$64</c:f>
              <c:numCache>
                <c:formatCode>General</c:formatCode>
                <c:ptCount val="60"/>
                <c:pt idx="0">
                  <c:v>0</c:v>
                </c:pt>
                <c:pt idx="1">
                  <c:v>28.728179551122199</c:v>
                </c:pt>
                <c:pt idx="2">
                  <c:v>53.865336658354103</c:v>
                </c:pt>
                <c:pt idx="3">
                  <c:v>71.820448877805504</c:v>
                </c:pt>
                <c:pt idx="4">
                  <c:v>104.139650872818</c:v>
                </c:pt>
                <c:pt idx="5">
                  <c:v>132.86783042394001</c:v>
                </c:pt>
                <c:pt idx="6">
                  <c:v>165.18703241895301</c:v>
                </c:pt>
                <c:pt idx="7">
                  <c:v>186.73316708229399</c:v>
                </c:pt>
                <c:pt idx="8">
                  <c:v>215.46134663341601</c:v>
                </c:pt>
                <c:pt idx="9">
                  <c:v>262.14463840398997</c:v>
                </c:pt>
                <c:pt idx="10">
                  <c:v>287.28179551122201</c:v>
                </c:pt>
                <c:pt idx="11">
                  <c:v>319.60099750623402</c:v>
                </c:pt>
                <c:pt idx="12">
                  <c:v>362.69326683291803</c:v>
                </c:pt>
                <c:pt idx="13">
                  <c:v>380.64837905236902</c:v>
                </c:pt>
                <c:pt idx="14">
                  <c:v>412.967581047382</c:v>
                </c:pt>
                <c:pt idx="15">
                  <c:v>459.65087281795502</c:v>
                </c:pt>
                <c:pt idx="16">
                  <c:v>477.60598503740601</c:v>
                </c:pt>
                <c:pt idx="17">
                  <c:v>517.10723192019998</c:v>
                </c:pt>
                <c:pt idx="18">
                  <c:v>535.06234413965103</c:v>
                </c:pt>
                <c:pt idx="19">
                  <c:v>556.60847880299298</c:v>
                </c:pt>
                <c:pt idx="20">
                  <c:v>581.745635910224</c:v>
                </c:pt>
                <c:pt idx="21">
                  <c:v>606.88279301745604</c:v>
                </c:pt>
                <c:pt idx="22">
                  <c:v>621.24688279301699</c:v>
                </c:pt>
                <c:pt idx="23">
                  <c:v>646.38403990024904</c:v>
                </c:pt>
                <c:pt idx="24">
                  <c:v>667.93017456359098</c:v>
                </c:pt>
                <c:pt idx="25">
                  <c:v>685.88528678304203</c:v>
                </c:pt>
                <c:pt idx="26">
                  <c:v>693.06733167082302</c:v>
                </c:pt>
                <c:pt idx="27">
                  <c:v>728.97755610972604</c:v>
                </c:pt>
                <c:pt idx="28">
                  <c:v>743.34164588528699</c:v>
                </c:pt>
                <c:pt idx="29">
                  <c:v>775.660847880299</c:v>
                </c:pt>
                <c:pt idx="30">
                  <c:v>804.38902743142103</c:v>
                </c:pt>
                <c:pt idx="31">
                  <c:v>818.75311720698301</c:v>
                </c:pt>
                <c:pt idx="32">
                  <c:v>836.70822942643395</c:v>
                </c:pt>
                <c:pt idx="33">
                  <c:v>869.02743142144595</c:v>
                </c:pt>
                <c:pt idx="34">
                  <c:v>894.164588528678</c:v>
                </c:pt>
                <c:pt idx="35">
                  <c:v>912.11970074812996</c:v>
                </c:pt>
                <c:pt idx="36">
                  <c:v>926.48379052369103</c:v>
                </c:pt>
                <c:pt idx="37">
                  <c:v>948.02992518703195</c:v>
                </c:pt>
                <c:pt idx="38">
                  <c:v>965.98503740648403</c:v>
                </c:pt>
                <c:pt idx="39">
                  <c:v>987.53117206982597</c:v>
                </c:pt>
                <c:pt idx="40">
                  <c:v>1009.07730673317</c:v>
                </c:pt>
                <c:pt idx="41">
                  <c:v>1030.6234413965101</c:v>
                </c:pt>
                <c:pt idx="42">
                  <c:v>1048.5785536159599</c:v>
                </c:pt>
                <c:pt idx="43">
                  <c:v>1070.1246882793</c:v>
                </c:pt>
                <c:pt idx="44">
                  <c:v>1084.4887780548599</c:v>
                </c:pt>
                <c:pt idx="45">
                  <c:v>1102.44389027431</c:v>
                </c:pt>
                <c:pt idx="46">
                  <c:v>1145.536159601</c:v>
                </c:pt>
                <c:pt idx="47">
                  <c:v>1159.9002493765599</c:v>
                </c:pt>
                <c:pt idx="48">
                  <c:v>1185.0374064837899</c:v>
                </c:pt>
                <c:pt idx="49">
                  <c:v>1210.1745635910199</c:v>
                </c:pt>
                <c:pt idx="50">
                  <c:v>1235.3117206982499</c:v>
                </c:pt>
                <c:pt idx="51">
                  <c:v>1249.6758104738201</c:v>
                </c:pt>
                <c:pt idx="52">
                  <c:v>1267.6309226932699</c:v>
                </c:pt>
                <c:pt idx="53">
                  <c:v>1289.17705735661</c:v>
                </c:pt>
                <c:pt idx="54">
                  <c:v>1310.7231920199499</c:v>
                </c:pt>
                <c:pt idx="55">
                  <c:v>1328.6783042393999</c:v>
                </c:pt>
                <c:pt idx="56">
                  <c:v>1360.9975062344099</c:v>
                </c:pt>
                <c:pt idx="57">
                  <c:v>1396.90773067332</c:v>
                </c:pt>
                <c:pt idx="58">
                  <c:v>1418.4538653366601</c:v>
                </c:pt>
                <c:pt idx="59">
                  <c:v>1440</c:v>
                </c:pt>
              </c:numCache>
            </c:numRef>
          </c:xVal>
          <c:yVal>
            <c:numRef>
              <c:f>Sheet1!$J$5:$J$64</c:f>
              <c:numCache>
                <c:formatCode>General</c:formatCode>
                <c:ptCount val="60"/>
                <c:pt idx="0">
                  <c:v>0</c:v>
                </c:pt>
                <c:pt idx="1">
                  <c:v>0.18518518518518501</c:v>
                </c:pt>
                <c:pt idx="2">
                  <c:v>0.296296296296296</c:v>
                </c:pt>
                <c:pt idx="3">
                  <c:v>0.407407407407407</c:v>
                </c:pt>
                <c:pt idx="4">
                  <c:v>0.70370370370370405</c:v>
                </c:pt>
                <c:pt idx="5">
                  <c:v>0.85185185185185197</c:v>
                </c:pt>
                <c:pt idx="6">
                  <c:v>1.1111111111111101</c:v>
                </c:pt>
                <c:pt idx="7">
                  <c:v>1.2222222222222201</c:v>
                </c:pt>
                <c:pt idx="8">
                  <c:v>1.4074074074074101</c:v>
                </c:pt>
                <c:pt idx="9">
                  <c:v>1.6666666666666701</c:v>
                </c:pt>
                <c:pt idx="10">
                  <c:v>1.81481481481481</c:v>
                </c:pt>
                <c:pt idx="11">
                  <c:v>2.0370370370370399</c:v>
                </c:pt>
                <c:pt idx="12">
                  <c:v>2.2962962962962998</c:v>
                </c:pt>
                <c:pt idx="13">
                  <c:v>2.4814814814814801</c:v>
                </c:pt>
                <c:pt idx="14">
                  <c:v>2.6666666666666701</c:v>
                </c:pt>
                <c:pt idx="15">
                  <c:v>2.81481481481481</c:v>
                </c:pt>
                <c:pt idx="16">
                  <c:v>3</c:v>
                </c:pt>
                <c:pt idx="17">
                  <c:v>3.2222222222222201</c:v>
                </c:pt>
                <c:pt idx="18">
                  <c:v>3.3703703703703698</c:v>
                </c:pt>
                <c:pt idx="19">
                  <c:v>3.6296296296296302</c:v>
                </c:pt>
                <c:pt idx="20">
                  <c:v>3.74074074074074</c:v>
                </c:pt>
                <c:pt idx="21">
                  <c:v>3.8888888888888902</c:v>
                </c:pt>
                <c:pt idx="22">
                  <c:v>4</c:v>
                </c:pt>
                <c:pt idx="23">
                  <c:v>4.1851851851851896</c:v>
                </c:pt>
                <c:pt idx="24">
                  <c:v>4.3703703703703702</c:v>
                </c:pt>
                <c:pt idx="25">
                  <c:v>4.4814814814814801</c:v>
                </c:pt>
                <c:pt idx="26">
                  <c:v>4.6296296296296298</c:v>
                </c:pt>
                <c:pt idx="27">
                  <c:v>4.7407407407407396</c:v>
                </c:pt>
                <c:pt idx="28">
                  <c:v>4.8888888888888902</c:v>
                </c:pt>
                <c:pt idx="29">
                  <c:v>5.07407407407407</c:v>
                </c:pt>
                <c:pt idx="30">
                  <c:v>5.2592592592592604</c:v>
                </c:pt>
                <c:pt idx="31">
                  <c:v>5.4074074074074101</c:v>
                </c:pt>
                <c:pt idx="32">
                  <c:v>5.4444444444444402</c:v>
                </c:pt>
                <c:pt idx="33">
                  <c:v>5.6666666666666696</c:v>
                </c:pt>
                <c:pt idx="34">
                  <c:v>5.8518518518518503</c:v>
                </c:pt>
                <c:pt idx="35">
                  <c:v>5.92592592592593</c:v>
                </c:pt>
                <c:pt idx="36">
                  <c:v>6.07407407407407</c:v>
                </c:pt>
                <c:pt idx="37">
                  <c:v>6.1851851851851896</c:v>
                </c:pt>
                <c:pt idx="38">
                  <c:v>6.2592592592592604</c:v>
                </c:pt>
                <c:pt idx="39">
                  <c:v>6.4074074074074101</c:v>
                </c:pt>
                <c:pt idx="40">
                  <c:v>6.4814814814814801</c:v>
                </c:pt>
                <c:pt idx="41">
                  <c:v>6.7037037037036997</c:v>
                </c:pt>
                <c:pt idx="42">
                  <c:v>6.8148148148148104</c:v>
                </c:pt>
                <c:pt idx="43">
                  <c:v>6.8518518518518503</c:v>
                </c:pt>
                <c:pt idx="44">
                  <c:v>7.07407407407407</c:v>
                </c:pt>
                <c:pt idx="45">
                  <c:v>7.1851851851851896</c:v>
                </c:pt>
                <c:pt idx="46">
                  <c:v>7.3333333333333304</c:v>
                </c:pt>
                <c:pt idx="47">
                  <c:v>7.4814814814814801</c:v>
                </c:pt>
                <c:pt idx="48">
                  <c:v>7.6296296296296298</c:v>
                </c:pt>
                <c:pt idx="49">
                  <c:v>7.7037037037036997</c:v>
                </c:pt>
                <c:pt idx="50">
                  <c:v>7.8518518518518503</c:v>
                </c:pt>
                <c:pt idx="51">
                  <c:v>7.8888888888888902</c:v>
                </c:pt>
                <c:pt idx="52">
                  <c:v>8.0370370370370399</c:v>
                </c:pt>
                <c:pt idx="53">
                  <c:v>8.1851851851851904</c:v>
                </c:pt>
                <c:pt idx="54">
                  <c:v>8.2962962962962994</c:v>
                </c:pt>
                <c:pt idx="55">
                  <c:v>8.4444444444444393</c:v>
                </c:pt>
                <c:pt idx="56">
                  <c:v>8.7037037037037006</c:v>
                </c:pt>
                <c:pt idx="57">
                  <c:v>8.8518518518518494</c:v>
                </c:pt>
                <c:pt idx="58">
                  <c:v>9</c:v>
                </c:pt>
                <c:pt idx="59">
                  <c:v>9.111111111111110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BC6F-4B84-929C-801785131ADB}"/>
            </c:ext>
          </c:extLst>
        </c:ser>
        <c:ser>
          <c:idx val="1"/>
          <c:order val="1"/>
          <c:tx>
            <c:strRef>
              <c:f>Sheet1!$F$4</c:f>
              <c:strCache>
                <c:ptCount val="1"/>
                <c:pt idx="0">
                  <c:v>Дапаглифлозин</c:v>
                </c:pt>
              </c:strCache>
            </c:strRef>
          </c:tx>
          <c:spPr>
            <a:ln w="412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F$5:$F$62</c:f>
              <c:numCache>
                <c:formatCode>General</c:formatCode>
                <c:ptCount val="58"/>
                <c:pt idx="0">
                  <c:v>3.59102244389027</c:v>
                </c:pt>
                <c:pt idx="1">
                  <c:v>43.092269326683301</c:v>
                </c:pt>
                <c:pt idx="2">
                  <c:v>71.820448877805504</c:v>
                </c:pt>
                <c:pt idx="3">
                  <c:v>89.775561097256897</c:v>
                </c:pt>
                <c:pt idx="4">
                  <c:v>122.09476309226901</c:v>
                </c:pt>
                <c:pt idx="5">
                  <c:v>147.23192019950099</c:v>
                </c:pt>
                <c:pt idx="6">
                  <c:v>183.14214463840401</c:v>
                </c:pt>
                <c:pt idx="7">
                  <c:v>204.68827930174601</c:v>
                </c:pt>
                <c:pt idx="8">
                  <c:v>247.78054862842899</c:v>
                </c:pt>
                <c:pt idx="9">
                  <c:v>294.46384039900198</c:v>
                </c:pt>
                <c:pt idx="10">
                  <c:v>337.55610972568599</c:v>
                </c:pt>
                <c:pt idx="11">
                  <c:v>355.51122194513698</c:v>
                </c:pt>
                <c:pt idx="12">
                  <c:v>398.60349127182002</c:v>
                </c:pt>
                <c:pt idx="13">
                  <c:v>434.51371571072298</c:v>
                </c:pt>
                <c:pt idx="14">
                  <c:v>474.01496259351597</c:v>
                </c:pt>
                <c:pt idx="15">
                  <c:v>502.743142144638</c:v>
                </c:pt>
                <c:pt idx="16">
                  <c:v>538.65336658354101</c:v>
                </c:pt>
                <c:pt idx="17">
                  <c:v>563.79052369077294</c:v>
                </c:pt>
                <c:pt idx="18">
                  <c:v>592.51870324189497</c:v>
                </c:pt>
                <c:pt idx="19">
                  <c:v>617.65586034912701</c:v>
                </c:pt>
                <c:pt idx="20">
                  <c:v>653.56608478803003</c:v>
                </c:pt>
                <c:pt idx="21">
                  <c:v>678.70324189526195</c:v>
                </c:pt>
                <c:pt idx="22">
                  <c:v>693.06733167082302</c:v>
                </c:pt>
                <c:pt idx="23">
                  <c:v>714.61346633416497</c:v>
                </c:pt>
                <c:pt idx="24">
                  <c:v>754.11471321695797</c:v>
                </c:pt>
                <c:pt idx="25">
                  <c:v>786.43391521196997</c:v>
                </c:pt>
                <c:pt idx="26">
                  <c:v>797.20698254364095</c:v>
                </c:pt>
                <c:pt idx="27">
                  <c:v>822.34413965087299</c:v>
                </c:pt>
                <c:pt idx="28">
                  <c:v>843.89027431421403</c:v>
                </c:pt>
                <c:pt idx="29">
                  <c:v>872.61845386533696</c:v>
                </c:pt>
                <c:pt idx="30">
                  <c:v>890.57356608478801</c:v>
                </c:pt>
                <c:pt idx="31">
                  <c:v>919.30174563591004</c:v>
                </c:pt>
                <c:pt idx="32">
                  <c:v>958.80299251870304</c:v>
                </c:pt>
                <c:pt idx="33">
                  <c:v>987.53117206982597</c:v>
                </c:pt>
                <c:pt idx="34">
                  <c:v>1009.07730673317</c:v>
                </c:pt>
                <c:pt idx="35">
                  <c:v>1052.16957605985</c:v>
                </c:pt>
                <c:pt idx="36">
                  <c:v>1077.30673316708</c:v>
                </c:pt>
                <c:pt idx="37">
                  <c:v>1109.6259351620899</c:v>
                </c:pt>
                <c:pt idx="38">
                  <c:v>1134.7630922693299</c:v>
                </c:pt>
                <c:pt idx="39">
                  <c:v>1159.9002493765599</c:v>
                </c:pt>
                <c:pt idx="40">
                  <c:v>1174.2643391521201</c:v>
                </c:pt>
                <c:pt idx="41">
                  <c:v>1199.4014962593501</c:v>
                </c:pt>
                <c:pt idx="42">
                  <c:v>1217.3566084787999</c:v>
                </c:pt>
                <c:pt idx="43">
                  <c:v>1246.08478802993</c:v>
                </c:pt>
                <c:pt idx="44">
                  <c:v>1253.26683291771</c:v>
                </c:pt>
                <c:pt idx="45">
                  <c:v>1274.8129675810501</c:v>
                </c:pt>
                <c:pt idx="46">
                  <c:v>1303.54114713217</c:v>
                </c:pt>
                <c:pt idx="47">
                  <c:v>1325.0872817955101</c:v>
                </c:pt>
                <c:pt idx="48">
                  <c:v>1346.63341645885</c:v>
                </c:pt>
                <c:pt idx="49">
                  <c:v>1368.1795511221901</c:v>
                </c:pt>
                <c:pt idx="50">
                  <c:v>1375.3615960099801</c:v>
                </c:pt>
                <c:pt idx="51">
                  <c:v>1386.1346633416499</c:v>
                </c:pt>
                <c:pt idx="52">
                  <c:v>1389.72568578554</c:v>
                </c:pt>
                <c:pt idx="53">
                  <c:v>1400.4987531172101</c:v>
                </c:pt>
                <c:pt idx="54">
                  <c:v>1407.68079800499</c:v>
                </c:pt>
                <c:pt idx="55">
                  <c:v>1422.04488778055</c:v>
                </c:pt>
                <c:pt idx="56">
                  <c:v>1432.81795511222</c:v>
                </c:pt>
                <c:pt idx="57">
                  <c:v>1440</c:v>
                </c:pt>
              </c:numCache>
            </c:numRef>
          </c:xVal>
          <c:yVal>
            <c:numRef>
              <c:f>Sheet1!$G$5:$G$62</c:f>
              <c:numCache>
                <c:formatCode>General</c:formatCode>
                <c:ptCount val="58"/>
                <c:pt idx="0">
                  <c:v>3.7037037037037E-2</c:v>
                </c:pt>
                <c:pt idx="1">
                  <c:v>0.25925925925925902</c:v>
                </c:pt>
                <c:pt idx="2">
                  <c:v>0.407407407407407</c:v>
                </c:pt>
                <c:pt idx="3">
                  <c:v>0.55555555555555602</c:v>
                </c:pt>
                <c:pt idx="4">
                  <c:v>0.74074074074074103</c:v>
                </c:pt>
                <c:pt idx="5">
                  <c:v>0.96296296296296302</c:v>
                </c:pt>
                <c:pt idx="6">
                  <c:v>1.07407407407407</c:v>
                </c:pt>
                <c:pt idx="7">
                  <c:v>1.3333333333333299</c:v>
                </c:pt>
                <c:pt idx="8">
                  <c:v>1.55555555555556</c:v>
                </c:pt>
                <c:pt idx="9">
                  <c:v>1.8888888888888899</c:v>
                </c:pt>
                <c:pt idx="10">
                  <c:v>2.1111111111111098</c:v>
                </c:pt>
                <c:pt idx="11">
                  <c:v>2.2962962962962998</c:v>
                </c:pt>
                <c:pt idx="12">
                  <c:v>2.5185185185185199</c:v>
                </c:pt>
                <c:pt idx="13">
                  <c:v>2.7777777777777799</c:v>
                </c:pt>
                <c:pt idx="14">
                  <c:v>2.8518518518518499</c:v>
                </c:pt>
                <c:pt idx="15">
                  <c:v>3.1111111111111098</c:v>
                </c:pt>
                <c:pt idx="16">
                  <c:v>3.25925925925926</c:v>
                </c:pt>
                <c:pt idx="17">
                  <c:v>3.3703703703703698</c:v>
                </c:pt>
                <c:pt idx="18">
                  <c:v>3.5555555555555598</c:v>
                </c:pt>
                <c:pt idx="19">
                  <c:v>3.74074074074074</c:v>
                </c:pt>
                <c:pt idx="20">
                  <c:v>3.92592592592593</c:v>
                </c:pt>
                <c:pt idx="21">
                  <c:v>4.1481481481481497</c:v>
                </c:pt>
                <c:pt idx="22">
                  <c:v>4.2592592592592604</c:v>
                </c:pt>
                <c:pt idx="23">
                  <c:v>4.4444444444444402</c:v>
                </c:pt>
                <c:pt idx="24">
                  <c:v>4.6296296296296298</c:v>
                </c:pt>
                <c:pt idx="25">
                  <c:v>4.8148148148148104</c:v>
                </c:pt>
                <c:pt idx="26">
                  <c:v>4.92592592592593</c:v>
                </c:pt>
                <c:pt idx="27">
                  <c:v>5.07407407407407</c:v>
                </c:pt>
                <c:pt idx="28">
                  <c:v>5.1481481481481497</c:v>
                </c:pt>
                <c:pt idx="29">
                  <c:v>5.2962962962963003</c:v>
                </c:pt>
                <c:pt idx="30">
                  <c:v>5.4074074074074101</c:v>
                </c:pt>
                <c:pt idx="31">
                  <c:v>5.5925925925925899</c:v>
                </c:pt>
                <c:pt idx="32">
                  <c:v>5.7777777777777803</c:v>
                </c:pt>
                <c:pt idx="33">
                  <c:v>6.1111111111111098</c:v>
                </c:pt>
                <c:pt idx="34">
                  <c:v>6.1111111111111098</c:v>
                </c:pt>
                <c:pt idx="35">
                  <c:v>6.3703703703703702</c:v>
                </c:pt>
                <c:pt idx="36">
                  <c:v>6.5185185185185199</c:v>
                </c:pt>
                <c:pt idx="37">
                  <c:v>6.5925925925925899</c:v>
                </c:pt>
                <c:pt idx="38">
                  <c:v>6.6666666666666696</c:v>
                </c:pt>
                <c:pt idx="39">
                  <c:v>6.8148148148148104</c:v>
                </c:pt>
                <c:pt idx="40">
                  <c:v>6.8888888888888902</c:v>
                </c:pt>
                <c:pt idx="41">
                  <c:v>6.9629629629629601</c:v>
                </c:pt>
                <c:pt idx="42">
                  <c:v>7.1481481481481497</c:v>
                </c:pt>
                <c:pt idx="43">
                  <c:v>7.1851851851851896</c:v>
                </c:pt>
                <c:pt idx="44">
                  <c:v>7.2962962962963003</c:v>
                </c:pt>
                <c:pt idx="45">
                  <c:v>7.5185185185185199</c:v>
                </c:pt>
                <c:pt idx="46">
                  <c:v>7.6666666666666696</c:v>
                </c:pt>
                <c:pt idx="47">
                  <c:v>7.8148148148148104</c:v>
                </c:pt>
                <c:pt idx="48">
                  <c:v>8</c:v>
                </c:pt>
                <c:pt idx="49">
                  <c:v>8.0740740740740709</c:v>
                </c:pt>
                <c:pt idx="50">
                  <c:v>8.1851851851851904</c:v>
                </c:pt>
                <c:pt idx="51">
                  <c:v>8.2222222222222197</c:v>
                </c:pt>
                <c:pt idx="52">
                  <c:v>8.3333333333333304</c:v>
                </c:pt>
                <c:pt idx="53">
                  <c:v>8.4074074074074101</c:v>
                </c:pt>
                <c:pt idx="54">
                  <c:v>8.4814814814814792</c:v>
                </c:pt>
                <c:pt idx="55">
                  <c:v>8.5185185185185208</c:v>
                </c:pt>
                <c:pt idx="56">
                  <c:v>8.5555555555555607</c:v>
                </c:pt>
                <c:pt idx="57">
                  <c:v>8.666666666666669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BC6F-4B84-929C-801785131A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4737912"/>
        <c:axId val="364732664"/>
      </c:scatterChart>
      <c:valAx>
        <c:axId val="364737912"/>
        <c:scaling>
          <c:orientation val="minMax"/>
          <c:max val="1440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DINPro-Medium" panose="02000503030000020004" pitchFamily="50" charset="0"/>
                    <a:ea typeface="+mn-ea"/>
                    <a:cs typeface="+mn-cs"/>
                  </a:defRPr>
                </a:pPr>
                <a:r>
                  <a:rPr lang="ru-RU"/>
                  <a:t>дней</a:t>
                </a:r>
                <a:endParaRPr lang="en-GB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DINPro-Medium" panose="02000503030000020004" pitchFamily="50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pPr>
            <a:endParaRPr lang="ru-RU"/>
          </a:p>
        </c:txPr>
        <c:crossAx val="364732664"/>
        <c:crosses val="autoZero"/>
        <c:crossBetween val="midCat"/>
        <c:majorUnit val="360"/>
      </c:valAx>
      <c:valAx>
        <c:axId val="364732664"/>
        <c:scaling>
          <c:orientation val="minMax"/>
          <c:max val="2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DINPro-Medium" panose="02000503030000020004" pitchFamily="50" charset="0"/>
                    <a:ea typeface="+mn-ea"/>
                    <a:cs typeface="+mn-cs"/>
                  </a:defRPr>
                </a:pPr>
                <a:r>
                  <a:rPr lang="ru-RU"/>
                  <a:t>% пациентов с события</a:t>
                </a:r>
                <a:endParaRPr lang="en-GB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DINPro-Medium" panose="02000503030000020004" pitchFamily="50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pPr>
            <a:endParaRPr lang="ru-RU"/>
          </a:p>
        </c:txPr>
        <c:crossAx val="3647379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6446996954259824"/>
          <c:y val="0.32507330844380478"/>
          <c:w val="0.38946103898869655"/>
          <c:h val="0.157231932500436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INPro-Medium" panose="02000503030000020004" pitchFamily="50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DINPro-Medium" panose="02000503030000020004" pitchFamily="50" charset="0"/>
        </a:defRPr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314497452524316"/>
          <c:y val="7.9577017437752195E-2"/>
          <c:w val="0.8495161854768154"/>
          <c:h val="0.54454441002892606"/>
        </c:manualLayout>
      </c:layout>
      <c:scatterChart>
        <c:scatterStyle val="lineMarker"/>
        <c:varyColors val="0"/>
        <c:ser>
          <c:idx val="0"/>
          <c:order val="0"/>
          <c:tx>
            <c:v>Placebo</c:v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[ada 2016.xlsx]Sheet7'!$Q$5:$Q$97</c:f>
              <c:numCache>
                <c:formatCode>General</c:formatCode>
                <c:ptCount val="93"/>
                <c:pt idx="0">
                  <c:v>1.99947712418301</c:v>
                </c:pt>
                <c:pt idx="1">
                  <c:v>2.50143790849673</c:v>
                </c:pt>
                <c:pt idx="2">
                  <c:v>2.9992156862745101</c:v>
                </c:pt>
                <c:pt idx="3">
                  <c:v>3.50117647058824</c:v>
                </c:pt>
                <c:pt idx="4">
                  <c:v>3.9989542483660099</c:v>
                </c:pt>
                <c:pt idx="5">
                  <c:v>4.5009150326797398</c:v>
                </c:pt>
                <c:pt idx="6">
                  <c:v>4.9986928104575199</c:v>
                </c:pt>
                <c:pt idx="7">
                  <c:v>5.5006535947712401</c:v>
                </c:pt>
                <c:pt idx="8">
                  <c:v>5.9984313725490201</c:v>
                </c:pt>
                <c:pt idx="9">
                  <c:v>6.5003921568627403</c:v>
                </c:pt>
                <c:pt idx="10">
                  <c:v>6.9981699346405204</c:v>
                </c:pt>
                <c:pt idx="11">
                  <c:v>7.5001307189542503</c:v>
                </c:pt>
                <c:pt idx="12">
                  <c:v>8.0020915032679696</c:v>
                </c:pt>
                <c:pt idx="13">
                  <c:v>8.4998692810457506</c:v>
                </c:pt>
                <c:pt idx="14">
                  <c:v>9.0018300653594796</c:v>
                </c:pt>
                <c:pt idx="15">
                  <c:v>9.4996078431372606</c:v>
                </c:pt>
                <c:pt idx="16">
                  <c:v>10.001568627451</c:v>
                </c:pt>
                <c:pt idx="17">
                  <c:v>10.499346405228801</c:v>
                </c:pt>
                <c:pt idx="18">
                  <c:v>11.0013071895425</c:v>
                </c:pt>
                <c:pt idx="19">
                  <c:v>11.4990849673203</c:v>
                </c:pt>
                <c:pt idx="20">
                  <c:v>12.001045751634001</c:v>
                </c:pt>
                <c:pt idx="21">
                  <c:v>12.4988235294118</c:v>
                </c:pt>
                <c:pt idx="22">
                  <c:v>13.0007843137255</c:v>
                </c:pt>
                <c:pt idx="23">
                  <c:v>13.498562091503301</c:v>
                </c:pt>
                <c:pt idx="24">
                  <c:v>14.000522875817</c:v>
                </c:pt>
                <c:pt idx="25">
                  <c:v>14.4983006535948</c:v>
                </c:pt>
                <c:pt idx="26">
                  <c:v>15.000261437908501</c:v>
                </c:pt>
                <c:pt idx="27">
                  <c:v>15.498039215686299</c:v>
                </c:pt>
                <c:pt idx="28">
                  <c:v>16</c:v>
                </c:pt>
                <c:pt idx="29">
                  <c:v>16.501960784313699</c:v>
                </c:pt>
                <c:pt idx="30">
                  <c:v>16.999738562091501</c:v>
                </c:pt>
                <c:pt idx="31">
                  <c:v>17.5016993464052</c:v>
                </c:pt>
                <c:pt idx="32">
                  <c:v>17.999477124182999</c:v>
                </c:pt>
                <c:pt idx="33">
                  <c:v>18.501437908496701</c:v>
                </c:pt>
                <c:pt idx="34">
                  <c:v>18.9992156862745</c:v>
                </c:pt>
                <c:pt idx="35">
                  <c:v>19.501176470588199</c:v>
                </c:pt>
                <c:pt idx="36">
                  <c:v>19.998954248366001</c:v>
                </c:pt>
                <c:pt idx="37">
                  <c:v>20.5009150326797</c:v>
                </c:pt>
                <c:pt idx="38">
                  <c:v>20.998692810457499</c:v>
                </c:pt>
                <c:pt idx="39">
                  <c:v>21.500653594771201</c:v>
                </c:pt>
                <c:pt idx="40">
                  <c:v>21.998431372549</c:v>
                </c:pt>
                <c:pt idx="41">
                  <c:v>22.500392156862699</c:v>
                </c:pt>
                <c:pt idx="42">
                  <c:v>22.998169934640501</c:v>
                </c:pt>
                <c:pt idx="43">
                  <c:v>23.5001307189542</c:v>
                </c:pt>
                <c:pt idx="44">
                  <c:v>23.997908496731998</c:v>
                </c:pt>
                <c:pt idx="45">
                  <c:v>24.4998692810458</c:v>
                </c:pt>
                <c:pt idx="46">
                  <c:v>25.001830065359499</c:v>
                </c:pt>
                <c:pt idx="47">
                  <c:v>25.499607843137301</c:v>
                </c:pt>
                <c:pt idx="48">
                  <c:v>26.001568627451</c:v>
                </c:pt>
                <c:pt idx="49">
                  <c:v>26.499346405228799</c:v>
                </c:pt>
                <c:pt idx="50">
                  <c:v>27.001307189542501</c:v>
                </c:pt>
                <c:pt idx="51">
                  <c:v>27.4990849673203</c:v>
                </c:pt>
                <c:pt idx="52">
                  <c:v>28.001045751633999</c:v>
                </c:pt>
                <c:pt idx="53">
                  <c:v>28.498823529411801</c:v>
                </c:pt>
                <c:pt idx="54">
                  <c:v>29.0007843137255</c:v>
                </c:pt>
                <c:pt idx="55">
                  <c:v>29.498562091503299</c:v>
                </c:pt>
                <c:pt idx="56">
                  <c:v>30.000522875817001</c:v>
                </c:pt>
                <c:pt idx="57">
                  <c:v>30.4983006535948</c:v>
                </c:pt>
                <c:pt idx="58">
                  <c:v>31.000261437908499</c:v>
                </c:pt>
                <c:pt idx="59">
                  <c:v>31.498039215686301</c:v>
                </c:pt>
                <c:pt idx="60">
                  <c:v>32</c:v>
                </c:pt>
                <c:pt idx="61">
                  <c:v>32.501960784313702</c:v>
                </c:pt>
                <c:pt idx="62">
                  <c:v>32.999738562091501</c:v>
                </c:pt>
                <c:pt idx="63">
                  <c:v>33.501699346405204</c:v>
                </c:pt>
                <c:pt idx="64">
                  <c:v>33.999477124183002</c:v>
                </c:pt>
                <c:pt idx="65">
                  <c:v>34.501437908496698</c:v>
                </c:pt>
                <c:pt idx="66">
                  <c:v>34.999215686274503</c:v>
                </c:pt>
                <c:pt idx="67">
                  <c:v>35.501176470588199</c:v>
                </c:pt>
                <c:pt idx="68">
                  <c:v>35.998954248365997</c:v>
                </c:pt>
                <c:pt idx="69">
                  <c:v>36.5009150326797</c:v>
                </c:pt>
                <c:pt idx="70">
                  <c:v>36.998692810457499</c:v>
                </c:pt>
                <c:pt idx="71">
                  <c:v>37.500653594771201</c:v>
                </c:pt>
                <c:pt idx="72">
                  <c:v>37.998431372549</c:v>
                </c:pt>
                <c:pt idx="73">
                  <c:v>38.500392156862702</c:v>
                </c:pt>
                <c:pt idx="74">
                  <c:v>38.998169934640501</c:v>
                </c:pt>
                <c:pt idx="75">
                  <c:v>39.500130718954203</c:v>
                </c:pt>
                <c:pt idx="76">
                  <c:v>40.002091503267998</c:v>
                </c:pt>
                <c:pt idx="77">
                  <c:v>40.499869281045797</c:v>
                </c:pt>
                <c:pt idx="78">
                  <c:v>41.001830065359499</c:v>
                </c:pt>
                <c:pt idx="79">
                  <c:v>41.499607843137298</c:v>
                </c:pt>
                <c:pt idx="80">
                  <c:v>42.001568627451</c:v>
                </c:pt>
                <c:pt idx="81">
                  <c:v>42.499346405228799</c:v>
                </c:pt>
                <c:pt idx="82">
                  <c:v>43.001307189542501</c:v>
                </c:pt>
                <c:pt idx="83">
                  <c:v>43.4990849673203</c:v>
                </c:pt>
                <c:pt idx="84">
                  <c:v>44.001045751634003</c:v>
                </c:pt>
                <c:pt idx="85">
                  <c:v>44.498823529411801</c:v>
                </c:pt>
                <c:pt idx="86">
                  <c:v>45.000784313725497</c:v>
                </c:pt>
                <c:pt idx="87">
                  <c:v>45.498562091503302</c:v>
                </c:pt>
                <c:pt idx="88">
                  <c:v>46.000522875816998</c:v>
                </c:pt>
                <c:pt idx="89">
                  <c:v>46.498300653594796</c:v>
                </c:pt>
                <c:pt idx="90">
                  <c:v>47.000261437908499</c:v>
                </c:pt>
                <c:pt idx="91">
                  <c:v>47.498039215686298</c:v>
                </c:pt>
                <c:pt idx="92">
                  <c:v>48</c:v>
                </c:pt>
              </c:numCache>
            </c:numRef>
          </c:xVal>
          <c:yVal>
            <c:numRef>
              <c:f>'[ada 2016.xlsx]Sheet7'!$R$5:$R$97</c:f>
              <c:numCache>
                <c:formatCode>General</c:formatCode>
                <c:ptCount val="93"/>
                <c:pt idx="0">
                  <c:v>0.65494825708061</c:v>
                </c:pt>
                <c:pt idx="1">
                  <c:v>0.87337145969498897</c:v>
                </c:pt>
                <c:pt idx="2">
                  <c:v>0.97374183006535897</c:v>
                </c:pt>
                <c:pt idx="3">
                  <c:v>1.1817483660130701</c:v>
                </c:pt>
                <c:pt idx="4">
                  <c:v>1.66059095860566</c:v>
                </c:pt>
                <c:pt idx="5">
                  <c:v>1.83387527233115</c:v>
                </c:pt>
                <c:pt idx="6">
                  <c:v>1.89605119825708</c:v>
                </c:pt>
                <c:pt idx="7">
                  <c:v>2.1665577342047899</c:v>
                </c:pt>
                <c:pt idx="8">
                  <c:v>2.3224836601307199</c:v>
                </c:pt>
                <c:pt idx="9">
                  <c:v>2.76312908496732</c:v>
                </c:pt>
                <c:pt idx="10">
                  <c:v>2.8287772331154701</c:v>
                </c:pt>
                <c:pt idx="11">
                  <c:v>2.8840059912854001</c:v>
                </c:pt>
                <c:pt idx="12">
                  <c:v>3.0190958605664502</c:v>
                </c:pt>
                <c:pt idx="13">
                  <c:v>3.1055773420479298</c:v>
                </c:pt>
                <c:pt idx="14">
                  <c:v>3.2233061002178598</c:v>
                </c:pt>
                <c:pt idx="15">
                  <c:v>3.3688153594771202</c:v>
                </c:pt>
                <c:pt idx="16">
                  <c:v>3.4726552287581698</c:v>
                </c:pt>
                <c:pt idx="17">
                  <c:v>3.7153867102396498</c:v>
                </c:pt>
                <c:pt idx="18">
                  <c:v>3.84700435729847</c:v>
                </c:pt>
                <c:pt idx="19">
                  <c:v>4.0098747276688496</c:v>
                </c:pt>
                <c:pt idx="20">
                  <c:v>4.2456590413943402</c:v>
                </c:pt>
                <c:pt idx="21">
                  <c:v>4.4189460784313699</c:v>
                </c:pt>
                <c:pt idx="22">
                  <c:v>4.71375816993464</c:v>
                </c:pt>
                <c:pt idx="23">
                  <c:v>4.9182952069716803</c:v>
                </c:pt>
                <c:pt idx="24">
                  <c:v>5.0915795206971701</c:v>
                </c:pt>
                <c:pt idx="25">
                  <c:v>5.3273665577341998</c:v>
                </c:pt>
                <c:pt idx="26">
                  <c:v>5.4520397603485797</c:v>
                </c:pt>
                <c:pt idx="27">
                  <c:v>5.91352124183007</c:v>
                </c:pt>
                <c:pt idx="28">
                  <c:v>6.0034722222222197</c:v>
                </c:pt>
                <c:pt idx="29">
                  <c:v>6.2462009803921603</c:v>
                </c:pt>
                <c:pt idx="30">
                  <c:v>6.4472657952069703</c:v>
                </c:pt>
                <c:pt idx="31">
                  <c:v>6.5615223311546798</c:v>
                </c:pt>
                <c:pt idx="32">
                  <c:v>6.8806427015250504</c:v>
                </c:pt>
                <c:pt idx="33">
                  <c:v>6.9705936819172098</c:v>
                </c:pt>
                <c:pt idx="34">
                  <c:v>7.1647140522875796</c:v>
                </c:pt>
                <c:pt idx="35">
                  <c:v>7.2025816993464096</c:v>
                </c:pt>
                <c:pt idx="36">
                  <c:v>7.2092020697167802</c:v>
                </c:pt>
                <c:pt idx="37">
                  <c:v>7.2922086056644897</c:v>
                </c:pt>
                <c:pt idx="38">
                  <c:v>7.4134123093681898</c:v>
                </c:pt>
                <c:pt idx="39">
                  <c:v>7.6353077342047904</c:v>
                </c:pt>
                <c:pt idx="40">
                  <c:v>7.7426225490196101</c:v>
                </c:pt>
                <c:pt idx="41">
                  <c:v>7.9506290849673196</c:v>
                </c:pt>
                <c:pt idx="42">
                  <c:v>8.1447494553376902</c:v>
                </c:pt>
                <c:pt idx="43">
                  <c:v>8.2590059912854006</c:v>
                </c:pt>
                <c:pt idx="44">
                  <c:v>8.3940985838779998</c:v>
                </c:pt>
                <c:pt idx="45">
                  <c:v>8.4250217864923709</c:v>
                </c:pt>
                <c:pt idx="46">
                  <c:v>8.6295561002178705</c:v>
                </c:pt>
                <c:pt idx="47">
                  <c:v>8.6986764705882393</c:v>
                </c:pt>
                <c:pt idx="48">
                  <c:v>8.9240441176470604</c:v>
                </c:pt>
                <c:pt idx="49">
                  <c:v>9.1528867102396507</c:v>
                </c:pt>
                <c:pt idx="50">
                  <c:v>9.3192265795207003</c:v>
                </c:pt>
                <c:pt idx="51">
                  <c:v>9.4543191721132906</c:v>
                </c:pt>
                <c:pt idx="52">
                  <c:v>9.6380201525054492</c:v>
                </c:pt>
                <c:pt idx="53">
                  <c:v>9.6932516339869306</c:v>
                </c:pt>
                <c:pt idx="54">
                  <c:v>9.8630637254901998</c:v>
                </c:pt>
                <c:pt idx="55">
                  <c:v>9.9287118736383402</c:v>
                </c:pt>
                <c:pt idx="56">
                  <c:v>9.9978295206971701</c:v>
                </c:pt>
                <c:pt idx="57">
                  <c:v>10.1641721132898</c:v>
                </c:pt>
                <c:pt idx="58">
                  <c:v>10.2263453159041</c:v>
                </c:pt>
                <c:pt idx="59">
                  <c:v>10.4204656862745</c:v>
                </c:pt>
                <c:pt idx="60">
                  <c:v>10.4513888888889</c:v>
                </c:pt>
                <c:pt idx="61">
                  <c:v>10.5552287581699</c:v>
                </c:pt>
                <c:pt idx="62">
                  <c:v>10.794488017429201</c:v>
                </c:pt>
                <c:pt idx="63">
                  <c:v>10.957355664488</c:v>
                </c:pt>
                <c:pt idx="64">
                  <c:v>11.1445315904139</c:v>
                </c:pt>
                <c:pt idx="65">
                  <c:v>11.154621459695001</c:v>
                </c:pt>
                <c:pt idx="66">
                  <c:v>11.2584640522876</c:v>
                </c:pt>
                <c:pt idx="67">
                  <c:v>11.3102205882353</c:v>
                </c:pt>
                <c:pt idx="68">
                  <c:v>11.504340958605701</c:v>
                </c:pt>
                <c:pt idx="69">
                  <c:v>11.629014161220001</c:v>
                </c:pt>
                <c:pt idx="70">
                  <c:v>11.847440087145999</c:v>
                </c:pt>
                <c:pt idx="71">
                  <c:v>11.857529956426999</c:v>
                </c:pt>
                <c:pt idx="72">
                  <c:v>12.0308169934641</c:v>
                </c:pt>
                <c:pt idx="73">
                  <c:v>12.2700735294118</c:v>
                </c:pt>
                <c:pt idx="74">
                  <c:v>12.526693899782099</c:v>
                </c:pt>
                <c:pt idx="75">
                  <c:v>12.6305337690632</c:v>
                </c:pt>
                <c:pt idx="76">
                  <c:v>12.9010403050109</c:v>
                </c:pt>
                <c:pt idx="77">
                  <c:v>13.4007162309368</c:v>
                </c:pt>
                <c:pt idx="78">
                  <c:v>13.480250544662301</c:v>
                </c:pt>
                <c:pt idx="79">
                  <c:v>13.8792320261438</c:v>
                </c:pt>
                <c:pt idx="80">
                  <c:v>13.875433006535999</c:v>
                </c:pt>
                <c:pt idx="81">
                  <c:v>13.9966367102397</c:v>
                </c:pt>
                <c:pt idx="82">
                  <c:v>14.0067265795207</c:v>
                </c:pt>
                <c:pt idx="83">
                  <c:v>14.155708061002199</c:v>
                </c:pt>
                <c:pt idx="84">
                  <c:v>14.356770152505399</c:v>
                </c:pt>
                <c:pt idx="85">
                  <c:v>14.5092238562092</c:v>
                </c:pt>
                <c:pt idx="86">
                  <c:v>14.7727859477124</c:v>
                </c:pt>
                <c:pt idx="87">
                  <c:v>14.994684095860601</c:v>
                </c:pt>
                <c:pt idx="88">
                  <c:v>15.070746187363801</c:v>
                </c:pt>
                <c:pt idx="89">
                  <c:v>15.292644335512</c:v>
                </c:pt>
                <c:pt idx="90">
                  <c:v>15.823567538126399</c:v>
                </c:pt>
                <c:pt idx="91">
                  <c:v>16.0558823529412</c:v>
                </c:pt>
                <c:pt idx="92">
                  <c:v>16.2812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B78-47DA-A7DE-BB9047E47B46}"/>
            </c:ext>
          </c:extLst>
        </c:ser>
        <c:ser>
          <c:idx val="1"/>
          <c:order val="1"/>
          <c:tx>
            <c:v>Empagliflozin</c:v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[ada 2016.xlsx]Sheet7'!$Q$100:$Q$176</c:f>
              <c:numCache>
                <c:formatCode>General</c:formatCode>
                <c:ptCount val="77"/>
                <c:pt idx="0">
                  <c:v>0.30117647058823499</c:v>
                </c:pt>
                <c:pt idx="1">
                  <c:v>1.20470588235294</c:v>
                </c:pt>
                <c:pt idx="2">
                  <c:v>1.69411764705882</c:v>
                </c:pt>
                <c:pt idx="3">
                  <c:v>2.2211764705882402</c:v>
                </c:pt>
                <c:pt idx="4">
                  <c:v>2.6352941176470601</c:v>
                </c:pt>
                <c:pt idx="5">
                  <c:v>3.1247058823529401</c:v>
                </c:pt>
                <c:pt idx="6">
                  <c:v>3.6141176470588201</c:v>
                </c:pt>
                <c:pt idx="7">
                  <c:v>3.80235294117647</c:v>
                </c:pt>
                <c:pt idx="8">
                  <c:v>4.1788235294117602</c:v>
                </c:pt>
                <c:pt idx="9">
                  <c:v>4.6682352941176504</c:v>
                </c:pt>
                <c:pt idx="10">
                  <c:v>5.1576470588235299</c:v>
                </c:pt>
                <c:pt idx="11">
                  <c:v>5.4211764705882404</c:v>
                </c:pt>
                <c:pt idx="12">
                  <c:v>5.9858823529411804</c:v>
                </c:pt>
                <c:pt idx="13">
                  <c:v>6.3247058823529398</c:v>
                </c:pt>
                <c:pt idx="14">
                  <c:v>6.7011764705882397</c:v>
                </c:pt>
                <c:pt idx="15">
                  <c:v>7.22823529411765</c:v>
                </c:pt>
                <c:pt idx="16">
                  <c:v>7.6423529411764699</c:v>
                </c:pt>
                <c:pt idx="17">
                  <c:v>8.3576470588235292</c:v>
                </c:pt>
                <c:pt idx="18">
                  <c:v>8.8094117647058798</c:v>
                </c:pt>
                <c:pt idx="19">
                  <c:v>9.3741176470588208</c:v>
                </c:pt>
                <c:pt idx="20">
                  <c:v>9.71294117647059</c:v>
                </c:pt>
                <c:pt idx="21">
                  <c:v>10.1647058823529</c:v>
                </c:pt>
                <c:pt idx="22">
                  <c:v>10.6164705882353</c:v>
                </c:pt>
                <c:pt idx="23">
                  <c:v>11.068235294117599</c:v>
                </c:pt>
                <c:pt idx="24">
                  <c:v>11.632941176470601</c:v>
                </c:pt>
                <c:pt idx="25">
                  <c:v>12.1223529411765</c:v>
                </c:pt>
                <c:pt idx="26">
                  <c:v>12.5364705882353</c:v>
                </c:pt>
                <c:pt idx="27">
                  <c:v>12.8</c:v>
                </c:pt>
                <c:pt idx="28">
                  <c:v>13.176470588235301</c:v>
                </c:pt>
                <c:pt idx="29">
                  <c:v>13.5152941176471</c:v>
                </c:pt>
                <c:pt idx="30">
                  <c:v>13.9294117647059</c:v>
                </c:pt>
                <c:pt idx="31">
                  <c:v>14.3058823529412</c:v>
                </c:pt>
                <c:pt idx="32">
                  <c:v>14.6823529411765</c:v>
                </c:pt>
                <c:pt idx="33">
                  <c:v>15.2094117647059</c:v>
                </c:pt>
                <c:pt idx="34">
                  <c:v>15.8117647058824</c:v>
                </c:pt>
                <c:pt idx="35">
                  <c:v>16.301176470588199</c:v>
                </c:pt>
                <c:pt idx="36">
                  <c:v>17.0164705882353</c:v>
                </c:pt>
                <c:pt idx="37">
                  <c:v>17.5058823529412</c:v>
                </c:pt>
                <c:pt idx="38">
                  <c:v>18.1458823529412</c:v>
                </c:pt>
                <c:pt idx="39">
                  <c:v>18.672941176470601</c:v>
                </c:pt>
                <c:pt idx="40">
                  <c:v>19.162352941176501</c:v>
                </c:pt>
                <c:pt idx="41">
                  <c:v>19.425882352941201</c:v>
                </c:pt>
                <c:pt idx="42">
                  <c:v>19.952941176470599</c:v>
                </c:pt>
                <c:pt idx="43">
                  <c:v>21.082352941176499</c:v>
                </c:pt>
                <c:pt idx="44">
                  <c:v>21.383529411764702</c:v>
                </c:pt>
                <c:pt idx="45">
                  <c:v>21.948235294117602</c:v>
                </c:pt>
                <c:pt idx="46">
                  <c:v>22.701176470588202</c:v>
                </c:pt>
                <c:pt idx="47">
                  <c:v>24.207058823529401</c:v>
                </c:pt>
                <c:pt idx="48">
                  <c:v>24.470588235294102</c:v>
                </c:pt>
                <c:pt idx="49">
                  <c:v>25.0729411764706</c:v>
                </c:pt>
                <c:pt idx="50">
                  <c:v>26.7670588235294</c:v>
                </c:pt>
                <c:pt idx="51">
                  <c:v>26.88</c:v>
                </c:pt>
                <c:pt idx="52">
                  <c:v>27.708235294117699</c:v>
                </c:pt>
                <c:pt idx="53">
                  <c:v>28.009411764705899</c:v>
                </c:pt>
                <c:pt idx="54">
                  <c:v>29.138823529411798</c:v>
                </c:pt>
                <c:pt idx="55">
                  <c:v>29.515294117647102</c:v>
                </c:pt>
                <c:pt idx="56">
                  <c:v>29.967058823529399</c:v>
                </c:pt>
                <c:pt idx="57">
                  <c:v>30.795294117647099</c:v>
                </c:pt>
                <c:pt idx="58">
                  <c:v>31.171764705882399</c:v>
                </c:pt>
                <c:pt idx="59">
                  <c:v>31.698823529411801</c:v>
                </c:pt>
                <c:pt idx="60">
                  <c:v>32.7529411764706</c:v>
                </c:pt>
                <c:pt idx="61">
                  <c:v>34.070588235294103</c:v>
                </c:pt>
                <c:pt idx="62">
                  <c:v>34.672941176470601</c:v>
                </c:pt>
                <c:pt idx="63">
                  <c:v>35.237647058823498</c:v>
                </c:pt>
                <c:pt idx="64">
                  <c:v>36.065882352941202</c:v>
                </c:pt>
                <c:pt idx="65">
                  <c:v>37.308235294117601</c:v>
                </c:pt>
                <c:pt idx="66">
                  <c:v>38.324705882352902</c:v>
                </c:pt>
                <c:pt idx="67">
                  <c:v>39.115294117647103</c:v>
                </c:pt>
                <c:pt idx="68">
                  <c:v>40.0564705882353</c:v>
                </c:pt>
                <c:pt idx="69">
                  <c:v>40.96</c:v>
                </c:pt>
                <c:pt idx="70">
                  <c:v>41.901176470588197</c:v>
                </c:pt>
                <c:pt idx="71">
                  <c:v>43.369411764705902</c:v>
                </c:pt>
                <c:pt idx="72">
                  <c:v>43.52</c:v>
                </c:pt>
                <c:pt idx="73">
                  <c:v>44.310588235294098</c:v>
                </c:pt>
                <c:pt idx="74">
                  <c:v>45.025882352941203</c:v>
                </c:pt>
                <c:pt idx="75">
                  <c:v>45.552941176470597</c:v>
                </c:pt>
                <c:pt idx="76">
                  <c:v>47.962352941176498</c:v>
                </c:pt>
              </c:numCache>
            </c:numRef>
          </c:xVal>
          <c:yVal>
            <c:numRef>
              <c:f>'[ada 2016.xlsx]Sheet7'!$R$100:$R$176</c:f>
              <c:numCache>
                <c:formatCode>General</c:formatCode>
                <c:ptCount val="77"/>
                <c:pt idx="0">
                  <c:v>9.3553921568627504E-2</c:v>
                </c:pt>
                <c:pt idx="1">
                  <c:v>0.24921568627450999</c:v>
                </c:pt>
                <c:pt idx="2">
                  <c:v>0.37389705882352903</c:v>
                </c:pt>
                <c:pt idx="3">
                  <c:v>0.46730392156862699</c:v>
                </c:pt>
                <c:pt idx="4">
                  <c:v>0.52953431372548998</c:v>
                </c:pt>
                <c:pt idx="5">
                  <c:v>0.68546568627450999</c:v>
                </c:pt>
                <c:pt idx="6">
                  <c:v>0.747647058823529</c:v>
                </c:pt>
                <c:pt idx="7">
                  <c:v>0.87252450980392104</c:v>
                </c:pt>
                <c:pt idx="8">
                  <c:v>0.90352941176470603</c:v>
                </c:pt>
                <c:pt idx="9">
                  <c:v>1.05946078431373</c:v>
                </c:pt>
                <c:pt idx="10">
                  <c:v>1.1216421568627499</c:v>
                </c:pt>
                <c:pt idx="11">
                  <c:v>1.24647058823529</c:v>
                </c:pt>
                <c:pt idx="12">
                  <c:v>1.3711029411764699</c:v>
                </c:pt>
                <c:pt idx="13">
                  <c:v>1.43338235294118</c:v>
                </c:pt>
                <c:pt idx="14">
                  <c:v>1.5893872549019601</c:v>
                </c:pt>
                <c:pt idx="15">
                  <c:v>1.74529411764706</c:v>
                </c:pt>
                <c:pt idx="16">
                  <c:v>1.9012745098039201</c:v>
                </c:pt>
                <c:pt idx="17">
                  <c:v>2.1195588235294101</c:v>
                </c:pt>
                <c:pt idx="18">
                  <c:v>2.2755147058823502</c:v>
                </c:pt>
                <c:pt idx="19">
                  <c:v>2.4313970588235301</c:v>
                </c:pt>
                <c:pt idx="20">
                  <c:v>2.5249264705882402</c:v>
                </c:pt>
                <c:pt idx="21">
                  <c:v>2.6496323529411798</c:v>
                </c:pt>
                <c:pt idx="22">
                  <c:v>2.7743382352941199</c:v>
                </c:pt>
                <c:pt idx="23">
                  <c:v>2.80529411764706</c:v>
                </c:pt>
                <c:pt idx="24">
                  <c:v>2.96117647058824</c:v>
                </c:pt>
                <c:pt idx="25">
                  <c:v>3.0858578431372501</c:v>
                </c:pt>
                <c:pt idx="26">
                  <c:v>3.2418382352941202</c:v>
                </c:pt>
                <c:pt idx="27">
                  <c:v>3.3354166666666698</c:v>
                </c:pt>
                <c:pt idx="28">
                  <c:v>3.5226715686274499</c:v>
                </c:pt>
                <c:pt idx="29">
                  <c:v>3.61620098039216</c:v>
                </c:pt>
                <c:pt idx="30">
                  <c:v>3.7096813725490199</c:v>
                </c:pt>
                <c:pt idx="31">
                  <c:v>3.8031862745098</c:v>
                </c:pt>
                <c:pt idx="32">
                  <c:v>4.1779411764705898</c:v>
                </c:pt>
                <c:pt idx="33">
                  <c:v>4.27134803921569</c:v>
                </c:pt>
                <c:pt idx="34">
                  <c:v>4.3959558823529399</c:v>
                </c:pt>
                <c:pt idx="35">
                  <c:v>4.4581372549019598</c:v>
                </c:pt>
                <c:pt idx="36">
                  <c:v>4.7389215686274504</c:v>
                </c:pt>
                <c:pt idx="37">
                  <c:v>4.8636029411764703</c:v>
                </c:pt>
                <c:pt idx="38">
                  <c:v>5.0194362745097996</c:v>
                </c:pt>
                <c:pt idx="39">
                  <c:v>5.1440931372548997</c:v>
                </c:pt>
                <c:pt idx="40">
                  <c:v>5.3000245098039196</c:v>
                </c:pt>
                <c:pt idx="41">
                  <c:v>5.4248529411764697</c:v>
                </c:pt>
                <c:pt idx="42">
                  <c:v>5.4870098039215698</c:v>
                </c:pt>
                <c:pt idx="43">
                  <c:v>5.8612745098039198</c:v>
                </c:pt>
                <c:pt idx="44">
                  <c:v>6.0173284313725501</c:v>
                </c:pt>
                <c:pt idx="45">
                  <c:v>6.0794607843137296</c:v>
                </c:pt>
                <c:pt idx="46">
                  <c:v>6.4227205882352898</c:v>
                </c:pt>
                <c:pt idx="47">
                  <c:v>6.8279901960784297</c:v>
                </c:pt>
                <c:pt idx="48">
                  <c:v>7.0778186274509798</c:v>
                </c:pt>
                <c:pt idx="49">
                  <c:v>7.2336764705882404</c:v>
                </c:pt>
                <c:pt idx="50">
                  <c:v>7.6700735294117601</c:v>
                </c:pt>
                <c:pt idx="51">
                  <c:v>7.8262499999999999</c:v>
                </c:pt>
                <c:pt idx="52">
                  <c:v>7.9194607843137304</c:v>
                </c:pt>
                <c:pt idx="53">
                  <c:v>8.01301470588235</c:v>
                </c:pt>
                <c:pt idx="54">
                  <c:v>8.3872794117647107</c:v>
                </c:pt>
                <c:pt idx="55">
                  <c:v>8.4495343137254899</c:v>
                </c:pt>
                <c:pt idx="56">
                  <c:v>8.7929901960784296</c:v>
                </c:pt>
                <c:pt idx="57">
                  <c:v>9.0112009803921609</c:v>
                </c:pt>
                <c:pt idx="58">
                  <c:v>9.1359558823529401</c:v>
                </c:pt>
                <c:pt idx="59">
                  <c:v>9.2606127450980402</c:v>
                </c:pt>
                <c:pt idx="60">
                  <c:v>9.4474264705882405</c:v>
                </c:pt>
                <c:pt idx="61">
                  <c:v>9.7590686274509792</c:v>
                </c:pt>
                <c:pt idx="62">
                  <c:v>10.133676470588201</c:v>
                </c:pt>
                <c:pt idx="63">
                  <c:v>10.164558823529401</c:v>
                </c:pt>
                <c:pt idx="64">
                  <c:v>10.6015196078431</c:v>
                </c:pt>
                <c:pt idx="65">
                  <c:v>10.8507107843137</c:v>
                </c:pt>
                <c:pt idx="66">
                  <c:v>11.4125490196078</c:v>
                </c:pt>
                <c:pt idx="67">
                  <c:v>11.599534313725499</c:v>
                </c:pt>
                <c:pt idx="68">
                  <c:v>11.6614215686275</c:v>
                </c:pt>
                <c:pt idx="69">
                  <c:v>12.254583333333301</c:v>
                </c:pt>
                <c:pt idx="70">
                  <c:v>12.378970588235299</c:v>
                </c:pt>
                <c:pt idx="71">
                  <c:v>12.4405147058824</c:v>
                </c:pt>
                <c:pt idx="72">
                  <c:v>12.6279166666667</c:v>
                </c:pt>
                <c:pt idx="73">
                  <c:v>12.752401960784301</c:v>
                </c:pt>
                <c:pt idx="74">
                  <c:v>12.8144362745098</c:v>
                </c:pt>
                <c:pt idx="75">
                  <c:v>12.970343137254901</c:v>
                </c:pt>
                <c:pt idx="76">
                  <c:v>13.000024509803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B78-47DA-A7DE-BB9047E47B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5738568"/>
        <c:axId val="545738896"/>
      </c:scatterChart>
      <c:valAx>
        <c:axId val="545738568"/>
        <c:scaling>
          <c:orientation val="minMax"/>
          <c:max val="54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Недель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5738896"/>
        <c:crosses val="autoZero"/>
        <c:crossBetween val="midCat"/>
        <c:majorUnit val="6"/>
      </c:valAx>
      <c:valAx>
        <c:axId val="54573889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%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57385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419573490813648"/>
          <c:y val="0.53700896762904637"/>
          <c:w val="0.55093153980752418"/>
          <c:h val="0.112246513878502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600"/>
      </a:pPr>
      <a:endParaRPr lang="ru-RU"/>
    </a:p>
  </c:txPr>
  <c:externalData r:id="rId4">
    <c:autoUpdate val="0"/>
  </c:externalData>
  <c:userShapes r:id="rId5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340204733422007"/>
          <c:y val="0.17477182813801909"/>
          <c:w val="0.80851872804838687"/>
          <c:h val="0.58101884278685612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I$4</c:f>
              <c:strCache>
                <c:ptCount val="1"/>
                <c:pt idx="0">
                  <c:v>Плацебо</c:v>
                </c:pt>
              </c:strCache>
            </c:strRef>
          </c:tx>
          <c:spPr>
            <a:ln w="412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Sheet1!$I$5:$I$64</c:f>
              <c:numCache>
                <c:formatCode>General</c:formatCode>
                <c:ptCount val="60"/>
                <c:pt idx="0">
                  <c:v>0</c:v>
                </c:pt>
                <c:pt idx="1">
                  <c:v>28.728179551122199</c:v>
                </c:pt>
                <c:pt idx="2">
                  <c:v>53.865336658354103</c:v>
                </c:pt>
                <c:pt idx="3">
                  <c:v>71.820448877805504</c:v>
                </c:pt>
                <c:pt idx="4">
                  <c:v>104.139650872818</c:v>
                </c:pt>
                <c:pt idx="5">
                  <c:v>132.86783042394001</c:v>
                </c:pt>
                <c:pt idx="6">
                  <c:v>165.18703241895301</c:v>
                </c:pt>
                <c:pt idx="7">
                  <c:v>186.73316708229399</c:v>
                </c:pt>
                <c:pt idx="8">
                  <c:v>215.46134663341601</c:v>
                </c:pt>
                <c:pt idx="9">
                  <c:v>262.14463840398997</c:v>
                </c:pt>
                <c:pt idx="10">
                  <c:v>287.28179551122201</c:v>
                </c:pt>
                <c:pt idx="11">
                  <c:v>319.60099750623402</c:v>
                </c:pt>
                <c:pt idx="12">
                  <c:v>362.69326683291803</c:v>
                </c:pt>
                <c:pt idx="13">
                  <c:v>380.64837905236902</c:v>
                </c:pt>
                <c:pt idx="14">
                  <c:v>412.967581047382</c:v>
                </c:pt>
                <c:pt idx="15">
                  <c:v>459.65087281795502</c:v>
                </c:pt>
                <c:pt idx="16">
                  <c:v>477.60598503740601</c:v>
                </c:pt>
                <c:pt idx="17">
                  <c:v>517.10723192019998</c:v>
                </c:pt>
                <c:pt idx="18">
                  <c:v>535.06234413965103</c:v>
                </c:pt>
                <c:pt idx="19">
                  <c:v>556.60847880299298</c:v>
                </c:pt>
                <c:pt idx="20">
                  <c:v>581.745635910224</c:v>
                </c:pt>
                <c:pt idx="21">
                  <c:v>606.88279301745604</c:v>
                </c:pt>
                <c:pt idx="22">
                  <c:v>621.24688279301699</c:v>
                </c:pt>
                <c:pt idx="23">
                  <c:v>646.38403990024904</c:v>
                </c:pt>
                <c:pt idx="24">
                  <c:v>667.93017456359098</c:v>
                </c:pt>
                <c:pt idx="25">
                  <c:v>685.88528678304203</c:v>
                </c:pt>
                <c:pt idx="26">
                  <c:v>693.06733167082302</c:v>
                </c:pt>
                <c:pt idx="27">
                  <c:v>728.97755610972604</c:v>
                </c:pt>
                <c:pt idx="28">
                  <c:v>743.34164588528699</c:v>
                </c:pt>
                <c:pt idx="29">
                  <c:v>775.660847880299</c:v>
                </c:pt>
                <c:pt idx="30">
                  <c:v>804.38902743142103</c:v>
                </c:pt>
                <c:pt idx="31">
                  <c:v>818.75311720698301</c:v>
                </c:pt>
                <c:pt idx="32">
                  <c:v>836.70822942643395</c:v>
                </c:pt>
                <c:pt idx="33">
                  <c:v>869.02743142144595</c:v>
                </c:pt>
                <c:pt idx="34">
                  <c:v>894.164588528678</c:v>
                </c:pt>
                <c:pt idx="35">
                  <c:v>912.11970074812996</c:v>
                </c:pt>
                <c:pt idx="36">
                  <c:v>926.48379052369103</c:v>
                </c:pt>
                <c:pt idx="37">
                  <c:v>948.02992518703195</c:v>
                </c:pt>
                <c:pt idx="38">
                  <c:v>965.98503740648403</c:v>
                </c:pt>
                <c:pt idx="39">
                  <c:v>987.53117206982597</c:v>
                </c:pt>
                <c:pt idx="40">
                  <c:v>1009.07730673317</c:v>
                </c:pt>
                <c:pt idx="41">
                  <c:v>1030.6234413965101</c:v>
                </c:pt>
                <c:pt idx="42">
                  <c:v>1048.5785536159599</c:v>
                </c:pt>
                <c:pt idx="43">
                  <c:v>1070.1246882793</c:v>
                </c:pt>
                <c:pt idx="44">
                  <c:v>1084.4887780548599</c:v>
                </c:pt>
                <c:pt idx="45">
                  <c:v>1102.44389027431</c:v>
                </c:pt>
                <c:pt idx="46">
                  <c:v>1145.536159601</c:v>
                </c:pt>
                <c:pt idx="47">
                  <c:v>1159.9002493765599</c:v>
                </c:pt>
                <c:pt idx="48">
                  <c:v>1185.0374064837899</c:v>
                </c:pt>
                <c:pt idx="49">
                  <c:v>1210.1745635910199</c:v>
                </c:pt>
                <c:pt idx="50">
                  <c:v>1235.3117206982499</c:v>
                </c:pt>
                <c:pt idx="51">
                  <c:v>1249.6758104738201</c:v>
                </c:pt>
                <c:pt idx="52">
                  <c:v>1267.6309226932699</c:v>
                </c:pt>
                <c:pt idx="53">
                  <c:v>1289.17705735661</c:v>
                </c:pt>
                <c:pt idx="54">
                  <c:v>1310.7231920199499</c:v>
                </c:pt>
                <c:pt idx="55">
                  <c:v>1328.6783042393999</c:v>
                </c:pt>
                <c:pt idx="56">
                  <c:v>1360.9975062344099</c:v>
                </c:pt>
                <c:pt idx="57">
                  <c:v>1396.90773067332</c:v>
                </c:pt>
                <c:pt idx="58">
                  <c:v>1418.4538653366601</c:v>
                </c:pt>
                <c:pt idx="59">
                  <c:v>1440</c:v>
                </c:pt>
              </c:numCache>
            </c:numRef>
          </c:xVal>
          <c:yVal>
            <c:numRef>
              <c:f>Sheet1!$J$5:$J$64</c:f>
              <c:numCache>
                <c:formatCode>General</c:formatCode>
                <c:ptCount val="60"/>
                <c:pt idx="0">
                  <c:v>0</c:v>
                </c:pt>
                <c:pt idx="1">
                  <c:v>0.18518518518518501</c:v>
                </c:pt>
                <c:pt idx="2">
                  <c:v>0.296296296296296</c:v>
                </c:pt>
                <c:pt idx="3">
                  <c:v>0.407407407407407</c:v>
                </c:pt>
                <c:pt idx="4">
                  <c:v>0.70370370370370405</c:v>
                </c:pt>
                <c:pt idx="5">
                  <c:v>0.85185185185185197</c:v>
                </c:pt>
                <c:pt idx="6">
                  <c:v>1.1111111111111101</c:v>
                </c:pt>
                <c:pt idx="7">
                  <c:v>1.2222222222222201</c:v>
                </c:pt>
                <c:pt idx="8">
                  <c:v>1.4074074074074101</c:v>
                </c:pt>
                <c:pt idx="9">
                  <c:v>1.6666666666666701</c:v>
                </c:pt>
                <c:pt idx="10">
                  <c:v>1.81481481481481</c:v>
                </c:pt>
                <c:pt idx="11">
                  <c:v>2.0370370370370399</c:v>
                </c:pt>
                <c:pt idx="12">
                  <c:v>2.2962962962962998</c:v>
                </c:pt>
                <c:pt idx="13">
                  <c:v>2.4814814814814801</c:v>
                </c:pt>
                <c:pt idx="14">
                  <c:v>2.6666666666666701</c:v>
                </c:pt>
                <c:pt idx="15">
                  <c:v>2.81481481481481</c:v>
                </c:pt>
                <c:pt idx="16">
                  <c:v>3</c:v>
                </c:pt>
                <c:pt idx="17">
                  <c:v>3.2222222222222201</c:v>
                </c:pt>
                <c:pt idx="18">
                  <c:v>3.3703703703703698</c:v>
                </c:pt>
                <c:pt idx="19">
                  <c:v>3.6296296296296302</c:v>
                </c:pt>
                <c:pt idx="20">
                  <c:v>3.74074074074074</c:v>
                </c:pt>
                <c:pt idx="21">
                  <c:v>3.8888888888888902</c:v>
                </c:pt>
                <c:pt idx="22">
                  <c:v>4</c:v>
                </c:pt>
                <c:pt idx="23">
                  <c:v>4.1851851851851896</c:v>
                </c:pt>
                <c:pt idx="24">
                  <c:v>4.3703703703703702</c:v>
                </c:pt>
                <c:pt idx="25">
                  <c:v>4.4814814814814801</c:v>
                </c:pt>
                <c:pt idx="26">
                  <c:v>4.6296296296296298</c:v>
                </c:pt>
                <c:pt idx="27">
                  <c:v>4.7407407407407396</c:v>
                </c:pt>
                <c:pt idx="28">
                  <c:v>4.8888888888888902</c:v>
                </c:pt>
                <c:pt idx="29">
                  <c:v>5.07407407407407</c:v>
                </c:pt>
                <c:pt idx="30">
                  <c:v>5.2592592592592604</c:v>
                </c:pt>
                <c:pt idx="31">
                  <c:v>5.4074074074074101</c:v>
                </c:pt>
                <c:pt idx="32">
                  <c:v>5.4444444444444402</c:v>
                </c:pt>
                <c:pt idx="33">
                  <c:v>5.6666666666666696</c:v>
                </c:pt>
                <c:pt idx="34">
                  <c:v>5.8518518518518503</c:v>
                </c:pt>
                <c:pt idx="35">
                  <c:v>5.92592592592593</c:v>
                </c:pt>
                <c:pt idx="36">
                  <c:v>6.07407407407407</c:v>
                </c:pt>
                <c:pt idx="37">
                  <c:v>6.1851851851851896</c:v>
                </c:pt>
                <c:pt idx="38">
                  <c:v>6.2592592592592604</c:v>
                </c:pt>
                <c:pt idx="39">
                  <c:v>6.4074074074074101</c:v>
                </c:pt>
                <c:pt idx="40">
                  <c:v>6.4814814814814801</c:v>
                </c:pt>
                <c:pt idx="41">
                  <c:v>6.7037037037036997</c:v>
                </c:pt>
                <c:pt idx="42">
                  <c:v>6.8148148148148104</c:v>
                </c:pt>
                <c:pt idx="43">
                  <c:v>6.8518518518518503</c:v>
                </c:pt>
                <c:pt idx="44">
                  <c:v>7.07407407407407</c:v>
                </c:pt>
                <c:pt idx="45">
                  <c:v>7.1851851851851896</c:v>
                </c:pt>
                <c:pt idx="46">
                  <c:v>7.3333333333333304</c:v>
                </c:pt>
                <c:pt idx="47">
                  <c:v>7.4814814814814801</c:v>
                </c:pt>
                <c:pt idx="48">
                  <c:v>7.6296296296296298</c:v>
                </c:pt>
                <c:pt idx="49">
                  <c:v>7.7037037037036997</c:v>
                </c:pt>
                <c:pt idx="50">
                  <c:v>7.8518518518518503</c:v>
                </c:pt>
                <c:pt idx="51">
                  <c:v>7.8888888888888902</c:v>
                </c:pt>
                <c:pt idx="52">
                  <c:v>8.0370370370370399</c:v>
                </c:pt>
                <c:pt idx="53">
                  <c:v>8.1851851851851904</c:v>
                </c:pt>
                <c:pt idx="54">
                  <c:v>8.2962962962962994</c:v>
                </c:pt>
                <c:pt idx="55">
                  <c:v>8.4444444444444393</c:v>
                </c:pt>
                <c:pt idx="56">
                  <c:v>8.7037037037037006</c:v>
                </c:pt>
                <c:pt idx="57">
                  <c:v>8.8518518518518494</c:v>
                </c:pt>
                <c:pt idx="58">
                  <c:v>9</c:v>
                </c:pt>
                <c:pt idx="59">
                  <c:v>9.111111111111110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F50F-447B-B1B3-7B96C06C23F3}"/>
            </c:ext>
          </c:extLst>
        </c:ser>
        <c:ser>
          <c:idx val="1"/>
          <c:order val="1"/>
          <c:tx>
            <c:strRef>
              <c:f>Sheet1!$F$4</c:f>
              <c:strCache>
                <c:ptCount val="1"/>
                <c:pt idx="0">
                  <c:v>Дапаглифлозин</c:v>
                </c:pt>
              </c:strCache>
            </c:strRef>
          </c:tx>
          <c:spPr>
            <a:ln w="412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Sheet1!$F$5:$F$62</c:f>
              <c:numCache>
                <c:formatCode>General</c:formatCode>
                <c:ptCount val="58"/>
                <c:pt idx="0">
                  <c:v>3.59102244389027</c:v>
                </c:pt>
                <c:pt idx="1">
                  <c:v>43.092269326683301</c:v>
                </c:pt>
                <c:pt idx="2">
                  <c:v>71.820448877805504</c:v>
                </c:pt>
                <c:pt idx="3">
                  <c:v>89.775561097256897</c:v>
                </c:pt>
                <c:pt idx="4">
                  <c:v>122.09476309226901</c:v>
                </c:pt>
                <c:pt idx="5">
                  <c:v>147.23192019950099</c:v>
                </c:pt>
                <c:pt idx="6">
                  <c:v>183.14214463840401</c:v>
                </c:pt>
                <c:pt idx="7">
                  <c:v>204.68827930174601</c:v>
                </c:pt>
                <c:pt idx="8">
                  <c:v>247.78054862842899</c:v>
                </c:pt>
                <c:pt idx="9">
                  <c:v>294.46384039900198</c:v>
                </c:pt>
                <c:pt idx="10">
                  <c:v>337.55610972568599</c:v>
                </c:pt>
                <c:pt idx="11">
                  <c:v>355.51122194513698</c:v>
                </c:pt>
                <c:pt idx="12">
                  <c:v>398.60349127182002</c:v>
                </c:pt>
                <c:pt idx="13">
                  <c:v>434.51371571072298</c:v>
                </c:pt>
                <c:pt idx="14">
                  <c:v>474.01496259351597</c:v>
                </c:pt>
                <c:pt idx="15">
                  <c:v>502.743142144638</c:v>
                </c:pt>
                <c:pt idx="16">
                  <c:v>538.65336658354101</c:v>
                </c:pt>
                <c:pt idx="17">
                  <c:v>563.79052369077294</c:v>
                </c:pt>
                <c:pt idx="18">
                  <c:v>592.51870324189497</c:v>
                </c:pt>
                <c:pt idx="19">
                  <c:v>617.65586034912701</c:v>
                </c:pt>
                <c:pt idx="20">
                  <c:v>653.56608478803003</c:v>
                </c:pt>
                <c:pt idx="21">
                  <c:v>678.70324189526195</c:v>
                </c:pt>
                <c:pt idx="22">
                  <c:v>693.06733167082302</c:v>
                </c:pt>
                <c:pt idx="23">
                  <c:v>714.61346633416497</c:v>
                </c:pt>
                <c:pt idx="24">
                  <c:v>754.11471321695797</c:v>
                </c:pt>
                <c:pt idx="25">
                  <c:v>786.43391521196997</c:v>
                </c:pt>
                <c:pt idx="26">
                  <c:v>797.20698254364095</c:v>
                </c:pt>
                <c:pt idx="27">
                  <c:v>822.34413965087299</c:v>
                </c:pt>
                <c:pt idx="28">
                  <c:v>843.89027431421403</c:v>
                </c:pt>
                <c:pt idx="29">
                  <c:v>872.61845386533696</c:v>
                </c:pt>
                <c:pt idx="30">
                  <c:v>890.57356608478801</c:v>
                </c:pt>
                <c:pt idx="31">
                  <c:v>919.30174563591004</c:v>
                </c:pt>
                <c:pt idx="32">
                  <c:v>958.80299251870304</c:v>
                </c:pt>
                <c:pt idx="33">
                  <c:v>987.53117206982597</c:v>
                </c:pt>
                <c:pt idx="34">
                  <c:v>1009.07730673317</c:v>
                </c:pt>
                <c:pt idx="35">
                  <c:v>1052.16957605985</c:v>
                </c:pt>
                <c:pt idx="36">
                  <c:v>1077.30673316708</c:v>
                </c:pt>
                <c:pt idx="37">
                  <c:v>1109.6259351620899</c:v>
                </c:pt>
                <c:pt idx="38">
                  <c:v>1134.7630922693299</c:v>
                </c:pt>
                <c:pt idx="39">
                  <c:v>1159.9002493765599</c:v>
                </c:pt>
                <c:pt idx="40">
                  <c:v>1174.2643391521201</c:v>
                </c:pt>
                <c:pt idx="41">
                  <c:v>1199.4014962593501</c:v>
                </c:pt>
                <c:pt idx="42">
                  <c:v>1217.3566084787999</c:v>
                </c:pt>
                <c:pt idx="43">
                  <c:v>1246.08478802993</c:v>
                </c:pt>
                <c:pt idx="44">
                  <c:v>1253.26683291771</c:v>
                </c:pt>
                <c:pt idx="45">
                  <c:v>1274.8129675810501</c:v>
                </c:pt>
                <c:pt idx="46">
                  <c:v>1303.54114713217</c:v>
                </c:pt>
                <c:pt idx="47">
                  <c:v>1325.0872817955101</c:v>
                </c:pt>
                <c:pt idx="48">
                  <c:v>1346.63341645885</c:v>
                </c:pt>
                <c:pt idx="49">
                  <c:v>1368.1795511221901</c:v>
                </c:pt>
                <c:pt idx="50">
                  <c:v>1375.3615960099801</c:v>
                </c:pt>
                <c:pt idx="51">
                  <c:v>1386.1346633416499</c:v>
                </c:pt>
                <c:pt idx="52">
                  <c:v>1389.72568578554</c:v>
                </c:pt>
                <c:pt idx="53">
                  <c:v>1400.4987531172101</c:v>
                </c:pt>
                <c:pt idx="54">
                  <c:v>1407.68079800499</c:v>
                </c:pt>
                <c:pt idx="55">
                  <c:v>1422.04488778055</c:v>
                </c:pt>
                <c:pt idx="56">
                  <c:v>1432.81795511222</c:v>
                </c:pt>
                <c:pt idx="57">
                  <c:v>1440</c:v>
                </c:pt>
              </c:numCache>
            </c:numRef>
          </c:xVal>
          <c:yVal>
            <c:numRef>
              <c:f>Sheet1!$G$5:$G$62</c:f>
              <c:numCache>
                <c:formatCode>General</c:formatCode>
                <c:ptCount val="58"/>
                <c:pt idx="0">
                  <c:v>3.7037037037037E-2</c:v>
                </c:pt>
                <c:pt idx="1">
                  <c:v>0.25925925925925902</c:v>
                </c:pt>
                <c:pt idx="2">
                  <c:v>0.407407407407407</c:v>
                </c:pt>
                <c:pt idx="3">
                  <c:v>0.55555555555555602</c:v>
                </c:pt>
                <c:pt idx="4">
                  <c:v>0.74074074074074103</c:v>
                </c:pt>
                <c:pt idx="5">
                  <c:v>0.96296296296296302</c:v>
                </c:pt>
                <c:pt idx="6">
                  <c:v>1.07407407407407</c:v>
                </c:pt>
                <c:pt idx="7">
                  <c:v>1.3333333333333299</c:v>
                </c:pt>
                <c:pt idx="8">
                  <c:v>1.55555555555556</c:v>
                </c:pt>
                <c:pt idx="9">
                  <c:v>1.8888888888888899</c:v>
                </c:pt>
                <c:pt idx="10">
                  <c:v>2.1111111111111098</c:v>
                </c:pt>
                <c:pt idx="11">
                  <c:v>2.2962962962962998</c:v>
                </c:pt>
                <c:pt idx="12">
                  <c:v>2.5185185185185199</c:v>
                </c:pt>
                <c:pt idx="13">
                  <c:v>2.7777777777777799</c:v>
                </c:pt>
                <c:pt idx="14">
                  <c:v>2.8518518518518499</c:v>
                </c:pt>
                <c:pt idx="15">
                  <c:v>3.1111111111111098</c:v>
                </c:pt>
                <c:pt idx="16">
                  <c:v>3.25925925925926</c:v>
                </c:pt>
                <c:pt idx="17">
                  <c:v>3.3703703703703698</c:v>
                </c:pt>
                <c:pt idx="18">
                  <c:v>3.5555555555555598</c:v>
                </c:pt>
                <c:pt idx="19">
                  <c:v>3.74074074074074</c:v>
                </c:pt>
                <c:pt idx="20">
                  <c:v>3.92592592592593</c:v>
                </c:pt>
                <c:pt idx="21">
                  <c:v>4.1481481481481497</c:v>
                </c:pt>
                <c:pt idx="22">
                  <c:v>4.2592592592592604</c:v>
                </c:pt>
                <c:pt idx="23">
                  <c:v>4.4444444444444402</c:v>
                </c:pt>
                <c:pt idx="24">
                  <c:v>4.6296296296296298</c:v>
                </c:pt>
                <c:pt idx="25">
                  <c:v>4.8148148148148104</c:v>
                </c:pt>
                <c:pt idx="26">
                  <c:v>4.92592592592593</c:v>
                </c:pt>
                <c:pt idx="27">
                  <c:v>5.07407407407407</c:v>
                </c:pt>
                <c:pt idx="28">
                  <c:v>5.1481481481481497</c:v>
                </c:pt>
                <c:pt idx="29">
                  <c:v>5.2962962962963003</c:v>
                </c:pt>
                <c:pt idx="30">
                  <c:v>5.4074074074074101</c:v>
                </c:pt>
                <c:pt idx="31">
                  <c:v>5.5925925925925899</c:v>
                </c:pt>
                <c:pt idx="32">
                  <c:v>5.7777777777777803</c:v>
                </c:pt>
                <c:pt idx="33">
                  <c:v>6.1111111111111098</c:v>
                </c:pt>
                <c:pt idx="34">
                  <c:v>6.1111111111111098</c:v>
                </c:pt>
                <c:pt idx="35">
                  <c:v>6.3703703703703702</c:v>
                </c:pt>
                <c:pt idx="36">
                  <c:v>6.5185185185185199</c:v>
                </c:pt>
                <c:pt idx="37">
                  <c:v>6.5925925925925899</c:v>
                </c:pt>
                <c:pt idx="38">
                  <c:v>6.6666666666666696</c:v>
                </c:pt>
                <c:pt idx="39">
                  <c:v>6.8148148148148104</c:v>
                </c:pt>
                <c:pt idx="40">
                  <c:v>6.8888888888888902</c:v>
                </c:pt>
                <c:pt idx="41">
                  <c:v>6.9629629629629601</c:v>
                </c:pt>
                <c:pt idx="42">
                  <c:v>7.1481481481481497</c:v>
                </c:pt>
                <c:pt idx="43">
                  <c:v>7.1851851851851896</c:v>
                </c:pt>
                <c:pt idx="44">
                  <c:v>7.2962962962963003</c:v>
                </c:pt>
                <c:pt idx="45">
                  <c:v>7.5185185185185199</c:v>
                </c:pt>
                <c:pt idx="46">
                  <c:v>7.6666666666666696</c:v>
                </c:pt>
                <c:pt idx="47">
                  <c:v>7.8148148148148104</c:v>
                </c:pt>
                <c:pt idx="48">
                  <c:v>8</c:v>
                </c:pt>
                <c:pt idx="49">
                  <c:v>8.0740740740740709</c:v>
                </c:pt>
                <c:pt idx="50">
                  <c:v>8.1851851851851904</c:v>
                </c:pt>
                <c:pt idx="51">
                  <c:v>8.2222222222222197</c:v>
                </c:pt>
                <c:pt idx="52">
                  <c:v>8.3333333333333304</c:v>
                </c:pt>
                <c:pt idx="53">
                  <c:v>8.4074074074074101</c:v>
                </c:pt>
                <c:pt idx="54">
                  <c:v>8.4814814814814792</c:v>
                </c:pt>
                <c:pt idx="55">
                  <c:v>8.5185185185185208</c:v>
                </c:pt>
                <c:pt idx="56">
                  <c:v>8.5555555555555607</c:v>
                </c:pt>
                <c:pt idx="57">
                  <c:v>8.666666666666669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50F-447B-B1B3-7B96C06C23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64737912"/>
        <c:axId val="364732664"/>
      </c:scatterChart>
      <c:valAx>
        <c:axId val="364737912"/>
        <c:scaling>
          <c:orientation val="minMax"/>
          <c:max val="1440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DINPro-Medium" panose="02000503030000020004" pitchFamily="50" charset="0"/>
                    <a:ea typeface="+mn-ea"/>
                    <a:cs typeface="+mn-cs"/>
                  </a:defRPr>
                </a:pPr>
                <a:r>
                  <a:rPr lang="ru-RU"/>
                  <a:t>дней</a:t>
                </a:r>
                <a:endParaRPr lang="en-GB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DINPro-Medium" panose="02000503030000020004" pitchFamily="50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pPr>
            <a:endParaRPr lang="ru-RU"/>
          </a:p>
        </c:txPr>
        <c:crossAx val="364732664"/>
        <c:crosses val="autoZero"/>
        <c:crossBetween val="midCat"/>
        <c:majorUnit val="360"/>
      </c:valAx>
      <c:valAx>
        <c:axId val="364732664"/>
        <c:scaling>
          <c:orientation val="minMax"/>
          <c:max val="18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DINPro-Medium" panose="02000503030000020004" pitchFamily="50" charset="0"/>
                    <a:ea typeface="+mn-ea"/>
                    <a:cs typeface="+mn-cs"/>
                  </a:defRPr>
                </a:pPr>
                <a:r>
                  <a:rPr lang="ru-RU"/>
                  <a:t>% пациентов с события</a:t>
                </a:r>
                <a:endParaRPr lang="en-GB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DINPro-Medium" panose="02000503030000020004" pitchFamily="50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pPr>
            <a:endParaRPr lang="ru-RU"/>
          </a:p>
        </c:txPr>
        <c:crossAx val="364737912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16446996954259824"/>
          <c:y val="0.32507330844380478"/>
          <c:w val="0.38946103898869655"/>
          <c:h val="0.157231932500436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DINPro-Medium" panose="02000503030000020004" pitchFamily="50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DINPro-Medium" panose="02000503030000020004" pitchFamily="50" charset="0"/>
        </a:defRPr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512396694214878E-2"/>
          <c:y val="3.4693099504384296E-2"/>
          <c:w val="0.9088478366553232"/>
          <c:h val="0.93061380099123137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12.1</c:v>
                </c:pt>
                <c:pt idx="1">
                  <c:v>9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47-4321-8270-AA1F9962D785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0.5</c:v>
                </c:pt>
                <c:pt idx="1">
                  <c:v>8.8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747-4321-8270-AA1F9962D7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112752384"/>
        <c:axId val="1"/>
      </c:barChart>
      <c:catAx>
        <c:axId val="1112752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3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60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pPr>
            <a:endParaRPr lang="ru-RU"/>
          </a:p>
        </c:txPr>
        <c:crossAx val="1112752384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693112206783203E-3"/>
          <c:y val="1.8671454219030523E-2"/>
          <c:w val="0.98446137755864327"/>
          <c:h val="0.9626570915619390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D$1</c:f>
              <c:numCache>
                <c:formatCode>General</c:formatCode>
                <c:ptCount val="4"/>
                <c:pt idx="0">
                  <c:v>-5</c:v>
                </c:pt>
                <c:pt idx="1">
                  <c:v>-1</c:v>
                </c:pt>
                <c:pt idx="2">
                  <c:v>-2</c:v>
                </c:pt>
                <c:pt idx="3">
                  <c:v>-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84-40E6-8A73-5C23BC5431B6}"/>
            </c:ext>
          </c:extLst>
        </c:ser>
        <c:ser>
          <c:idx val="1"/>
          <c:order val="1"/>
          <c:spPr>
            <a:solidFill>
              <a:srgbClr val="C00000"/>
            </a:solidFill>
            <a:ln>
              <a:noFill/>
            </a:ln>
          </c:spPr>
          <c:invertIfNegative val="0"/>
          <c:val>
            <c:numRef>
              <c:f>Sheet1!$A$2:$D$2</c:f>
              <c:numCache>
                <c:formatCode>General</c:formatCode>
                <c:ptCount val="4"/>
                <c:pt idx="0">
                  <c:v>6</c:v>
                </c:pt>
                <c:pt idx="1">
                  <c:v>5.7</c:v>
                </c:pt>
                <c:pt idx="2">
                  <c:v>4</c:v>
                </c:pt>
                <c:pt idx="3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984-40E6-8A73-5C23BC5431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86447392"/>
        <c:axId val="1"/>
      </c:barChart>
      <c:catAx>
        <c:axId val="10864473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6"/>
          <c:min val="-5"/>
        </c:scaling>
        <c:delete val="1"/>
        <c:axPos val="l"/>
        <c:numFmt formatCode="General" sourceLinked="1"/>
        <c:majorTickMark val="out"/>
        <c:minorTickMark val="none"/>
        <c:tickLblPos val="nextTo"/>
        <c:crossAx val="10864473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042616843333998"/>
          <c:y val="4.0433312389174275E-2"/>
          <c:w val="0.8495161854768154"/>
          <c:h val="0.64979086129941388"/>
        </c:manualLayout>
      </c:layout>
      <c:scatterChart>
        <c:scatterStyle val="lineMarker"/>
        <c:varyColors val="0"/>
        <c:ser>
          <c:idx val="0"/>
          <c:order val="0"/>
          <c:tx>
            <c:strRef>
              <c:f>'[ada 2016.xlsx]Sheet6'!$A$4</c:f>
              <c:strCache>
                <c:ptCount val="1"/>
                <c:pt idx="0">
                  <c:v>Placebo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[ada 2016.xlsx]Sheet6'!$B$5:$B$207</c:f>
              <c:numCache>
                <c:formatCode>0.00</c:formatCode>
                <c:ptCount val="203"/>
                <c:pt idx="0">
                  <c:v>0</c:v>
                </c:pt>
                <c:pt idx="1">
                  <c:v>0.732600732600733</c:v>
                </c:pt>
                <c:pt idx="2">
                  <c:v>0.732600732600733</c:v>
                </c:pt>
                <c:pt idx="3">
                  <c:v>0.59445316588173702</c:v>
                </c:pt>
                <c:pt idx="4">
                  <c:v>0.85400313971742503</c:v>
                </c:pt>
                <c:pt idx="5">
                  <c:v>1.1470434327577199</c:v>
                </c:pt>
                <c:pt idx="6">
                  <c:v>1.4233385661957101</c:v>
                </c:pt>
                <c:pt idx="7">
                  <c:v>1.67451596023025</c:v>
                </c:pt>
                <c:pt idx="8">
                  <c:v>1.92150706436421</c:v>
                </c:pt>
                <c:pt idx="9">
                  <c:v>2.1852433281004702</c:v>
                </c:pt>
                <c:pt idx="10">
                  <c:v>2.4447933019361598</c:v>
                </c:pt>
                <c:pt idx="11">
                  <c:v>2.70434327577185</c:v>
                </c:pt>
                <c:pt idx="12">
                  <c:v>2.9764521193092599</c:v>
                </c:pt>
                <c:pt idx="13">
                  <c:v>3.2527472527472501</c:v>
                </c:pt>
                <c:pt idx="14">
                  <c:v>3.5039246467817899</c:v>
                </c:pt>
                <c:pt idx="15">
                  <c:v>3.73417059131345</c:v>
                </c:pt>
                <c:pt idx="16">
                  <c:v>3.9811616954474101</c:v>
                </c:pt>
                <c:pt idx="17">
                  <c:v>4.2616431187859796</c:v>
                </c:pt>
                <c:pt idx="18">
                  <c:v>4.5588697017268398</c:v>
                </c:pt>
                <c:pt idx="19">
                  <c:v>4.8644688644688703</c:v>
                </c:pt>
                <c:pt idx="20">
                  <c:v>5.1575091575091596</c:v>
                </c:pt>
                <c:pt idx="21">
                  <c:v>5.4086865515436902</c:v>
                </c:pt>
                <c:pt idx="22">
                  <c:v>5.6556776556776596</c:v>
                </c:pt>
                <c:pt idx="23">
                  <c:v>5.9361590790162202</c:v>
                </c:pt>
                <c:pt idx="24">
                  <c:v>6.2208267922553597</c:v>
                </c:pt>
                <c:pt idx="25">
                  <c:v>6.4803767660910498</c:v>
                </c:pt>
                <c:pt idx="26">
                  <c:v>6.7357404500261602</c:v>
                </c:pt>
                <c:pt idx="27">
                  <c:v>7.0078492935635799</c:v>
                </c:pt>
                <c:pt idx="28">
                  <c:v>7.2967032967033001</c:v>
                </c:pt>
                <c:pt idx="29">
                  <c:v>7.5897435897435903</c:v>
                </c:pt>
                <c:pt idx="30">
                  <c:v>7.8869701726844603</c:v>
                </c:pt>
                <c:pt idx="31">
                  <c:v>8.1883830455258995</c:v>
                </c:pt>
                <c:pt idx="32">
                  <c:v>8.4897959183673493</c:v>
                </c:pt>
                <c:pt idx="33">
                  <c:v>8.7870225013082202</c:v>
                </c:pt>
                <c:pt idx="34">
                  <c:v>9.0800627943485104</c:v>
                </c:pt>
                <c:pt idx="35">
                  <c:v>9.3689167974882306</c:v>
                </c:pt>
                <c:pt idx="36">
                  <c:v>9.6703296703296697</c:v>
                </c:pt>
                <c:pt idx="37">
                  <c:v>9.9717425431711106</c:v>
                </c:pt>
                <c:pt idx="38">
                  <c:v>10.2354788069074</c:v>
                </c:pt>
                <c:pt idx="39">
                  <c:v>10.461538461538501</c:v>
                </c:pt>
                <c:pt idx="40">
                  <c:v>10.6875981161695</c:v>
                </c:pt>
                <c:pt idx="41">
                  <c:v>10.938775510204101</c:v>
                </c:pt>
                <c:pt idx="42">
                  <c:v>11.194139194139201</c:v>
                </c:pt>
                <c:pt idx="43">
                  <c:v>11.441130298273199</c:v>
                </c:pt>
                <c:pt idx="44">
                  <c:v>11.6839351125065</c:v>
                </c:pt>
                <c:pt idx="45">
                  <c:v>11.918367346938799</c:v>
                </c:pt>
                <c:pt idx="46">
                  <c:v>12.1653584510727</c:v>
                </c:pt>
                <c:pt idx="47">
                  <c:v>12.4416535845107</c:v>
                </c:pt>
                <c:pt idx="48">
                  <c:v>12.734693877551001</c:v>
                </c:pt>
                <c:pt idx="49">
                  <c:v>13.0235478806907</c:v>
                </c:pt>
                <c:pt idx="50">
                  <c:v>13.3124018838305</c:v>
                </c:pt>
                <c:pt idx="51">
                  <c:v>13.605442176870699</c:v>
                </c:pt>
                <c:pt idx="52">
                  <c:v>13.8775510204082</c:v>
                </c:pt>
                <c:pt idx="53">
                  <c:v>14.103610675039199</c:v>
                </c:pt>
                <c:pt idx="54">
                  <c:v>14.3338566195709</c:v>
                </c:pt>
                <c:pt idx="55">
                  <c:v>14.5724751439037</c:v>
                </c:pt>
                <c:pt idx="56">
                  <c:v>14.7817896389325</c:v>
                </c:pt>
                <c:pt idx="57">
                  <c:v>14.9618001046572</c:v>
                </c:pt>
                <c:pt idx="58">
                  <c:v>15.1543694400837</c:v>
                </c:pt>
                <c:pt idx="59">
                  <c:v>15.3929879644165</c:v>
                </c:pt>
                <c:pt idx="60">
                  <c:v>15.6776556776557</c:v>
                </c:pt>
                <c:pt idx="61">
                  <c:v>15.9581371009942</c:v>
                </c:pt>
                <c:pt idx="62">
                  <c:v>16.200941915227599</c:v>
                </c:pt>
                <c:pt idx="63">
                  <c:v>16.422815279958101</c:v>
                </c:pt>
                <c:pt idx="64">
                  <c:v>16.6530612244898</c:v>
                </c:pt>
                <c:pt idx="65">
                  <c:v>16.887493458921998</c:v>
                </c:pt>
                <c:pt idx="66">
                  <c:v>17.1428571428571</c:v>
                </c:pt>
                <c:pt idx="67">
                  <c:v>17.394034536891699</c:v>
                </c:pt>
                <c:pt idx="68">
                  <c:v>17.620094191522799</c:v>
                </c:pt>
                <c:pt idx="69">
                  <c:v>17.841967556253302</c:v>
                </c:pt>
                <c:pt idx="70">
                  <c:v>18.068027210884399</c:v>
                </c:pt>
                <c:pt idx="71">
                  <c:v>18.2940868655154</c:v>
                </c:pt>
                <c:pt idx="72">
                  <c:v>18.5327053898482</c:v>
                </c:pt>
                <c:pt idx="73">
                  <c:v>18.8006279434851</c:v>
                </c:pt>
                <c:pt idx="74">
                  <c:v>19.085295656724199</c:v>
                </c:pt>
                <c:pt idx="75">
                  <c:v>19.369963369963401</c:v>
                </c:pt>
                <c:pt idx="76">
                  <c:v>19.658817373103101</c:v>
                </c:pt>
                <c:pt idx="77">
                  <c:v>19.956043956043999</c:v>
                </c:pt>
                <c:pt idx="78">
                  <c:v>20.244897959183699</c:v>
                </c:pt>
                <c:pt idx="79">
                  <c:v>20.5128205128205</c:v>
                </c:pt>
                <c:pt idx="80">
                  <c:v>20.776556776556799</c:v>
                </c:pt>
                <c:pt idx="81">
                  <c:v>21.0235478806907</c:v>
                </c:pt>
                <c:pt idx="82">
                  <c:v>21.257980115123001</c:v>
                </c:pt>
                <c:pt idx="83">
                  <c:v>21.496598639455801</c:v>
                </c:pt>
                <c:pt idx="84">
                  <c:v>21.7477760334903</c:v>
                </c:pt>
                <c:pt idx="85">
                  <c:v>22.0198848770277</c:v>
                </c:pt>
                <c:pt idx="86">
                  <c:v>22.300366300366299</c:v>
                </c:pt>
                <c:pt idx="87">
                  <c:v>22.564102564102601</c:v>
                </c:pt>
                <c:pt idx="88">
                  <c:v>22.811093668236499</c:v>
                </c:pt>
                <c:pt idx="89">
                  <c:v>23.062271062271101</c:v>
                </c:pt>
                <c:pt idx="90">
                  <c:v>23.338566195709099</c:v>
                </c:pt>
                <c:pt idx="91">
                  <c:v>23.623233908948201</c:v>
                </c:pt>
                <c:pt idx="92">
                  <c:v>23.912087912087902</c:v>
                </c:pt>
                <c:pt idx="93">
                  <c:v>24.205128205128201</c:v>
                </c:pt>
                <c:pt idx="94">
                  <c:v>24.493982208267902</c:v>
                </c:pt>
                <c:pt idx="95">
                  <c:v>24.761904761904798</c:v>
                </c:pt>
                <c:pt idx="96">
                  <c:v>25.029827315541599</c:v>
                </c:pt>
                <c:pt idx="97">
                  <c:v>25.314495028780701</c:v>
                </c:pt>
                <c:pt idx="98">
                  <c:v>25.615907901622201</c:v>
                </c:pt>
                <c:pt idx="99">
                  <c:v>25.883830455259002</c:v>
                </c:pt>
                <c:pt idx="100">
                  <c:v>26.093144950287801</c:v>
                </c:pt>
                <c:pt idx="101">
                  <c:v>26.277341705913098</c:v>
                </c:pt>
                <c:pt idx="102">
                  <c:v>26.461538461538499</c:v>
                </c:pt>
                <c:pt idx="103">
                  <c:v>26.675039246467801</c:v>
                </c:pt>
                <c:pt idx="104">
                  <c:v>26.917844060701199</c:v>
                </c:pt>
                <c:pt idx="105">
                  <c:v>27.173207744636301</c:v>
                </c:pt>
                <c:pt idx="106">
                  <c:v>27.436944008372599</c:v>
                </c:pt>
                <c:pt idx="107">
                  <c:v>27.721611721611701</c:v>
                </c:pt>
                <c:pt idx="108">
                  <c:v>28.018838304552599</c:v>
                </c:pt>
                <c:pt idx="109">
                  <c:v>28.311878597592901</c:v>
                </c:pt>
                <c:pt idx="110">
                  <c:v>28.588173731030899</c:v>
                </c:pt>
                <c:pt idx="111">
                  <c:v>28.839351125065399</c:v>
                </c:pt>
                <c:pt idx="112">
                  <c:v>29.090528519099902</c:v>
                </c:pt>
                <c:pt idx="113">
                  <c:v>29.371009942438501</c:v>
                </c:pt>
                <c:pt idx="114">
                  <c:v>29.659863945578198</c:v>
                </c:pt>
                <c:pt idx="115">
                  <c:v>29.940345368916802</c:v>
                </c:pt>
                <c:pt idx="116">
                  <c:v>30.216640502354799</c:v>
                </c:pt>
                <c:pt idx="117">
                  <c:v>30.5054945054945</c:v>
                </c:pt>
                <c:pt idx="118">
                  <c:v>30.806907378336</c:v>
                </c:pt>
                <c:pt idx="119">
                  <c:v>31.099947671376199</c:v>
                </c:pt>
                <c:pt idx="120">
                  <c:v>31.384615384615401</c:v>
                </c:pt>
                <c:pt idx="121">
                  <c:v>31.970695970695999</c:v>
                </c:pt>
                <c:pt idx="122">
                  <c:v>31.970695970695999</c:v>
                </c:pt>
                <c:pt idx="123">
                  <c:v>32.246991104133997</c:v>
                </c:pt>
                <c:pt idx="124">
                  <c:v>32.5190999476714</c:v>
                </c:pt>
                <c:pt idx="125">
                  <c:v>32.812140240711699</c:v>
                </c:pt>
                <c:pt idx="126">
                  <c:v>33.084249084249102</c:v>
                </c:pt>
                <c:pt idx="127">
                  <c:v>33.293563579277901</c:v>
                </c:pt>
                <c:pt idx="128">
                  <c:v>33.469387755101998</c:v>
                </c:pt>
                <c:pt idx="129">
                  <c:v>33.661957090528503</c:v>
                </c:pt>
                <c:pt idx="130">
                  <c:v>33.896389324960801</c:v>
                </c:pt>
                <c:pt idx="131">
                  <c:v>34.164311878597601</c:v>
                </c:pt>
                <c:pt idx="132">
                  <c:v>34.444793301936201</c:v>
                </c:pt>
                <c:pt idx="133">
                  <c:v>34.733647305075898</c:v>
                </c:pt>
                <c:pt idx="134">
                  <c:v>35.026687598116197</c:v>
                </c:pt>
                <c:pt idx="135">
                  <c:v>35.315541601255902</c:v>
                </c:pt>
                <c:pt idx="136">
                  <c:v>35.591836734693899</c:v>
                </c:pt>
                <c:pt idx="137">
                  <c:v>35.8597592883307</c:v>
                </c:pt>
                <c:pt idx="138">
                  <c:v>36.1276818419676</c:v>
                </c:pt>
                <c:pt idx="139">
                  <c:v>36.391418105703799</c:v>
                </c:pt>
                <c:pt idx="140">
                  <c:v>36.642595499738398</c:v>
                </c:pt>
                <c:pt idx="141">
                  <c:v>36.893772893772898</c:v>
                </c:pt>
                <c:pt idx="142">
                  <c:v>37.165881737310301</c:v>
                </c:pt>
                <c:pt idx="143">
                  <c:v>37.4589220303506</c:v>
                </c:pt>
                <c:pt idx="144">
                  <c:v>37.735217163788597</c:v>
                </c:pt>
                <c:pt idx="145">
                  <c:v>37.9654631083203</c:v>
                </c:pt>
                <c:pt idx="146">
                  <c:v>38.166405023547902</c:v>
                </c:pt>
                <c:pt idx="147">
                  <c:v>38.384092098377799</c:v>
                </c:pt>
                <c:pt idx="148">
                  <c:v>38.635269492412299</c:v>
                </c:pt>
                <c:pt idx="149">
                  <c:v>38.9199372056515</c:v>
                </c:pt>
                <c:pt idx="150">
                  <c:v>39.208791208791197</c:v>
                </c:pt>
                <c:pt idx="151">
                  <c:v>39.4934589220303</c:v>
                </c:pt>
                <c:pt idx="152">
                  <c:v>39.753008895866003</c:v>
                </c:pt>
                <c:pt idx="153">
                  <c:v>39.974882260596502</c:v>
                </c:pt>
                <c:pt idx="154">
                  <c:v>40.167451596023</c:v>
                </c:pt>
                <c:pt idx="155">
                  <c:v>40.3642072213501</c:v>
                </c:pt>
                <c:pt idx="156">
                  <c:v>40.577708006279401</c:v>
                </c:pt>
                <c:pt idx="157">
                  <c:v>40.803767660910502</c:v>
                </c:pt>
                <c:pt idx="158">
                  <c:v>41.013082155939301</c:v>
                </c:pt>
                <c:pt idx="159">
                  <c:v>41.184720041862903</c:v>
                </c:pt>
                <c:pt idx="160">
                  <c:v>41.343799058084798</c:v>
                </c:pt>
                <c:pt idx="161">
                  <c:v>41.5447409733124</c:v>
                </c:pt>
                <c:pt idx="162">
                  <c:v>41.804290947148097</c:v>
                </c:pt>
                <c:pt idx="163">
                  <c:v>42.084772370486697</c:v>
                </c:pt>
                <c:pt idx="164">
                  <c:v>42.340136054421798</c:v>
                </c:pt>
                <c:pt idx="165">
                  <c:v>42.520146520146497</c:v>
                </c:pt>
                <c:pt idx="166">
                  <c:v>42.608058608058599</c:v>
                </c:pt>
                <c:pt idx="167">
                  <c:v>43.210884353741498</c:v>
                </c:pt>
                <c:pt idx="168">
                  <c:v>43.210884353741498</c:v>
                </c:pt>
                <c:pt idx="169">
                  <c:v>43.813710099424398</c:v>
                </c:pt>
                <c:pt idx="170">
                  <c:v>43.813710099424398</c:v>
                </c:pt>
                <c:pt idx="171">
                  <c:v>44.110936682365299</c:v>
                </c:pt>
                <c:pt idx="172">
                  <c:v>44.1276818419676</c:v>
                </c:pt>
                <c:pt idx="173">
                  <c:v>44.1276818419676</c:v>
                </c:pt>
                <c:pt idx="174">
                  <c:v>44.697017268445798</c:v>
                </c:pt>
                <c:pt idx="175">
                  <c:v>44.697017268445798</c:v>
                </c:pt>
                <c:pt idx="176">
                  <c:v>44.697017268445798</c:v>
                </c:pt>
                <c:pt idx="177">
                  <c:v>44.730507587650401</c:v>
                </c:pt>
                <c:pt idx="178">
                  <c:v>44.998430141287301</c:v>
                </c:pt>
                <c:pt idx="179">
                  <c:v>45.295656724228202</c:v>
                </c:pt>
                <c:pt idx="180">
                  <c:v>45.354264782836196</c:v>
                </c:pt>
                <c:pt idx="181">
                  <c:v>45.3751962323391</c:v>
                </c:pt>
                <c:pt idx="182">
                  <c:v>45.4882260596546</c:v>
                </c:pt>
                <c:pt idx="183">
                  <c:v>45.664050235478797</c:v>
                </c:pt>
                <c:pt idx="184">
                  <c:v>45.860805860805897</c:v>
                </c:pt>
                <c:pt idx="185">
                  <c:v>46.153846153846203</c:v>
                </c:pt>
                <c:pt idx="186">
                  <c:v>46.4552590266876</c:v>
                </c:pt>
                <c:pt idx="187">
                  <c:v>46.718995290423898</c:v>
                </c:pt>
                <c:pt idx="188">
                  <c:v>46.718995290423898</c:v>
                </c:pt>
                <c:pt idx="189">
                  <c:v>46.664573521716399</c:v>
                </c:pt>
                <c:pt idx="190">
                  <c:v>46.668759811617001</c:v>
                </c:pt>
                <c:pt idx="191">
                  <c:v>46.668759811617001</c:v>
                </c:pt>
                <c:pt idx="192">
                  <c:v>46.668759811617001</c:v>
                </c:pt>
                <c:pt idx="193">
                  <c:v>46.668759811617001</c:v>
                </c:pt>
                <c:pt idx="194">
                  <c:v>46.6101517530089</c:v>
                </c:pt>
                <c:pt idx="195">
                  <c:v>46.827838827838796</c:v>
                </c:pt>
                <c:pt idx="196">
                  <c:v>47.133437990580902</c:v>
                </c:pt>
                <c:pt idx="197">
                  <c:v>47.2841444270016</c:v>
                </c:pt>
                <c:pt idx="198">
                  <c:v>47.313448456305601</c:v>
                </c:pt>
                <c:pt idx="199">
                  <c:v>47.317634746206203</c:v>
                </c:pt>
                <c:pt idx="200">
                  <c:v>47.413919413919402</c:v>
                </c:pt>
                <c:pt idx="201">
                  <c:v>47.623233908948201</c:v>
                </c:pt>
                <c:pt idx="202">
                  <c:v>47.924646781789598</c:v>
                </c:pt>
              </c:numCache>
            </c:numRef>
          </c:xVal>
          <c:yVal>
            <c:numRef>
              <c:f>'[ada 2016.xlsx]Sheet6'!$D$5:$D$207</c:f>
              <c:numCache>
                <c:formatCode>0.00</c:formatCode>
                <c:ptCount val="203"/>
                <c:pt idx="0">
                  <c:v>0</c:v>
                </c:pt>
                <c:pt idx="1">
                  <c:v>0</c:v>
                </c:pt>
                <c:pt idx="2">
                  <c:v>6.18238021638331E-3</c:v>
                </c:pt>
                <c:pt idx="3">
                  <c:v>6.6460587326120604E-2</c:v>
                </c:pt>
                <c:pt idx="4">
                  <c:v>0.114374034003091</c:v>
                </c:pt>
                <c:pt idx="5">
                  <c:v>0.14837712519319901</c:v>
                </c:pt>
                <c:pt idx="6">
                  <c:v>0.19165378670788299</c:v>
                </c:pt>
                <c:pt idx="7">
                  <c:v>0.25347758887171601</c:v>
                </c:pt>
                <c:pt idx="8">
                  <c:v>0.31221020092735702</c:v>
                </c:pt>
                <c:pt idx="9">
                  <c:v>0.35703245749613599</c:v>
                </c:pt>
                <c:pt idx="10">
                  <c:v>0.39876352395672299</c:v>
                </c:pt>
                <c:pt idx="11">
                  <c:v>0.44358578052550202</c:v>
                </c:pt>
                <c:pt idx="12">
                  <c:v>0.48068006182380202</c:v>
                </c:pt>
                <c:pt idx="13">
                  <c:v>0.51004636785162305</c:v>
                </c:pt>
                <c:pt idx="14">
                  <c:v>0.55177743431221005</c:v>
                </c:pt>
                <c:pt idx="15">
                  <c:v>0.61205564142194702</c:v>
                </c:pt>
                <c:pt idx="16">
                  <c:v>0.66460587326120601</c:v>
                </c:pt>
                <c:pt idx="17">
                  <c:v>0.69088098918083496</c:v>
                </c:pt>
                <c:pt idx="18">
                  <c:v>0.69551777434312201</c:v>
                </c:pt>
                <c:pt idx="19">
                  <c:v>0.69551777434312201</c:v>
                </c:pt>
                <c:pt idx="20">
                  <c:v>0.69706336939721802</c:v>
                </c:pt>
                <c:pt idx="21">
                  <c:v>0.737248840803709</c:v>
                </c:pt>
                <c:pt idx="22">
                  <c:v>0.78052550231839302</c:v>
                </c:pt>
                <c:pt idx="23">
                  <c:v>0.80370942812983004</c:v>
                </c:pt>
                <c:pt idx="24">
                  <c:v>0.82689335394126695</c:v>
                </c:pt>
                <c:pt idx="25">
                  <c:v>0.87171561051004598</c:v>
                </c:pt>
                <c:pt idx="26">
                  <c:v>0.92117465224111295</c:v>
                </c:pt>
                <c:pt idx="27">
                  <c:v>0.95208655332302905</c:v>
                </c:pt>
                <c:pt idx="28">
                  <c:v>0.96908809891808401</c:v>
                </c:pt>
                <c:pt idx="29">
                  <c:v>0.98608964451313796</c:v>
                </c:pt>
                <c:pt idx="30">
                  <c:v>1</c:v>
                </c:pt>
                <c:pt idx="31">
                  <c:v>1.0061823802163801</c:v>
                </c:pt>
                <c:pt idx="32">
                  <c:v>1.01391035548686</c:v>
                </c:pt>
                <c:pt idx="33">
                  <c:v>1.0309119010819201</c:v>
                </c:pt>
                <c:pt idx="34">
                  <c:v>1.05718701700155</c:v>
                </c:pt>
                <c:pt idx="35">
                  <c:v>1.0757341576507</c:v>
                </c:pt>
                <c:pt idx="36">
                  <c:v>1.0850077279752699</c:v>
                </c:pt>
                <c:pt idx="37">
                  <c:v>1.1004636785162301</c:v>
                </c:pt>
                <c:pt idx="38">
                  <c:v>1.1468315301391001</c:v>
                </c:pt>
                <c:pt idx="39">
                  <c:v>1.21329211746522</c:v>
                </c:pt>
                <c:pt idx="40">
                  <c:v>1.26893353941267</c:v>
                </c:pt>
                <c:pt idx="41">
                  <c:v>1.3091190108191699</c:v>
                </c:pt>
                <c:pt idx="42">
                  <c:v>1.35548686244204</c:v>
                </c:pt>
                <c:pt idx="43">
                  <c:v>1.4142194744976799</c:v>
                </c:pt>
                <c:pt idx="44">
                  <c:v>1.4760432766615099</c:v>
                </c:pt>
                <c:pt idx="45">
                  <c:v>1.5409582689335399</c:v>
                </c:pt>
                <c:pt idx="46">
                  <c:v>1.59505409582689</c:v>
                </c:pt>
                <c:pt idx="47">
                  <c:v>1.6244204018547099</c:v>
                </c:pt>
                <c:pt idx="48">
                  <c:v>1.6367851622874801</c:v>
                </c:pt>
                <c:pt idx="49">
                  <c:v>1.6584234930448201</c:v>
                </c:pt>
                <c:pt idx="50">
                  <c:v>1.68469860896445</c:v>
                </c:pt>
                <c:pt idx="51">
                  <c:v>1.7001545595054099</c:v>
                </c:pt>
                <c:pt idx="52">
                  <c:v>1.7264296754250399</c:v>
                </c:pt>
                <c:pt idx="53">
                  <c:v>1.77588871715611</c:v>
                </c:pt>
                <c:pt idx="54">
                  <c:v>1.8268933539412699</c:v>
                </c:pt>
                <c:pt idx="55">
                  <c:v>1.87326120556414</c:v>
                </c:pt>
                <c:pt idx="56">
                  <c:v>1.9366306027820701</c:v>
                </c:pt>
                <c:pt idx="57">
                  <c:v>2.0200927357032499</c:v>
                </c:pt>
                <c:pt idx="58">
                  <c:v>2.1051004636785202</c:v>
                </c:pt>
                <c:pt idx="59">
                  <c:v>2.1653786707882499</c:v>
                </c:pt>
                <c:pt idx="60">
                  <c:v>2.1947449768160698</c:v>
                </c:pt>
                <c:pt idx="61">
                  <c:v>2.2225656877898001</c:v>
                </c:pt>
                <c:pt idx="62">
                  <c:v>2.2766615146831501</c:v>
                </c:pt>
                <c:pt idx="63">
                  <c:v>2.3431221020092701</c:v>
                </c:pt>
                <c:pt idx="64">
                  <c:v>2.4049459041731098</c:v>
                </c:pt>
                <c:pt idx="65">
                  <c:v>2.4590417310664598</c:v>
                </c:pt>
                <c:pt idx="66">
                  <c:v>2.5023183925811399</c:v>
                </c:pt>
                <c:pt idx="67">
                  <c:v>2.5486862442040201</c:v>
                </c:pt>
                <c:pt idx="68">
                  <c:v>2.60896445131376</c:v>
                </c:pt>
                <c:pt idx="69">
                  <c:v>2.67387944358578</c:v>
                </c:pt>
                <c:pt idx="70">
                  <c:v>2.7418856259659998</c:v>
                </c:pt>
                <c:pt idx="71">
                  <c:v>2.8129829984543999</c:v>
                </c:pt>
                <c:pt idx="72">
                  <c:v>2.8608964451313801</c:v>
                </c:pt>
                <c:pt idx="73">
                  <c:v>2.8825347758887201</c:v>
                </c:pt>
                <c:pt idx="74">
                  <c:v>2.9057187017001498</c:v>
                </c:pt>
                <c:pt idx="75">
                  <c:v>2.9366306027820701</c:v>
                </c:pt>
                <c:pt idx="76">
                  <c:v>2.95981452859351</c:v>
                </c:pt>
                <c:pt idx="77">
                  <c:v>2.9690880989180801</c:v>
                </c:pt>
                <c:pt idx="78">
                  <c:v>2.98918083462133</c:v>
                </c:pt>
                <c:pt idx="79">
                  <c:v>3.02936630602782</c:v>
                </c:pt>
                <c:pt idx="80">
                  <c:v>3.0788253477588898</c:v>
                </c:pt>
                <c:pt idx="81">
                  <c:v>3.1360123647604299</c:v>
                </c:pt>
                <c:pt idx="82">
                  <c:v>3.2040185471406502</c:v>
                </c:pt>
                <c:pt idx="83">
                  <c:v>3.2689335394126702</c:v>
                </c:pt>
                <c:pt idx="84">
                  <c:v>3.3245749613601201</c:v>
                </c:pt>
                <c:pt idx="85">
                  <c:v>3.3693972179289</c:v>
                </c:pt>
                <c:pt idx="86">
                  <c:v>3.40958268933539</c:v>
                </c:pt>
                <c:pt idx="87">
                  <c:v>3.4621329211746499</c:v>
                </c:pt>
                <c:pt idx="88">
                  <c:v>3.5270479134466801</c:v>
                </c:pt>
                <c:pt idx="89">
                  <c:v>3.5842349304482202</c:v>
                </c:pt>
                <c:pt idx="90">
                  <c:v>3.6213292117465201</c:v>
                </c:pt>
                <c:pt idx="91">
                  <c:v>3.6506955177743401</c:v>
                </c:pt>
                <c:pt idx="92">
                  <c:v>3.6800618238021601</c:v>
                </c:pt>
                <c:pt idx="93">
                  <c:v>3.7001545595054099</c:v>
                </c:pt>
                <c:pt idx="94">
                  <c:v>3.71715610510046</c:v>
                </c:pt>
                <c:pt idx="95">
                  <c:v>3.7496136012364798</c:v>
                </c:pt>
                <c:pt idx="96">
                  <c:v>3.7836166924265799</c:v>
                </c:pt>
                <c:pt idx="97">
                  <c:v>3.7975270479134502</c:v>
                </c:pt>
                <c:pt idx="98">
                  <c:v>3.8037094281298298</c:v>
                </c:pt>
                <c:pt idx="99">
                  <c:v>3.8361669242658398</c:v>
                </c:pt>
                <c:pt idx="100">
                  <c:v>3.9010819165378701</c:v>
                </c:pt>
                <c:pt idx="101">
                  <c:v>3.9799072642967501</c:v>
                </c:pt>
                <c:pt idx="102">
                  <c:v>4.0602782071097403</c:v>
                </c:pt>
                <c:pt idx="103">
                  <c:v>4.1313755795981404</c:v>
                </c:pt>
                <c:pt idx="104">
                  <c:v>4.1916537867078798</c:v>
                </c:pt>
                <c:pt idx="105">
                  <c:v>4.2503863987635198</c:v>
                </c:pt>
                <c:pt idx="106">
                  <c:v>4.30139103554869</c:v>
                </c:pt>
                <c:pt idx="107">
                  <c:v>4.3307573415765104</c:v>
                </c:pt>
                <c:pt idx="108">
                  <c:v>4.3431221020092696</c:v>
                </c:pt>
                <c:pt idx="109">
                  <c:v>4.3585780525502296</c:v>
                </c:pt>
                <c:pt idx="110">
                  <c:v>4.3941267387944398</c:v>
                </c:pt>
                <c:pt idx="111">
                  <c:v>4.4451313755796003</c:v>
                </c:pt>
                <c:pt idx="112">
                  <c:v>4.4853168469860902</c:v>
                </c:pt>
                <c:pt idx="113">
                  <c:v>4.5023183925811399</c:v>
                </c:pt>
                <c:pt idx="114">
                  <c:v>4.5131375579598103</c:v>
                </c:pt>
                <c:pt idx="115">
                  <c:v>4.5378670788253501</c:v>
                </c:pt>
                <c:pt idx="116">
                  <c:v>4.5610510046367896</c:v>
                </c:pt>
                <c:pt idx="117">
                  <c:v>4.5734157650695497</c:v>
                </c:pt>
                <c:pt idx="118">
                  <c:v>4.5873261205564102</c:v>
                </c:pt>
                <c:pt idx="119">
                  <c:v>4.6074188562596596</c:v>
                </c:pt>
                <c:pt idx="120">
                  <c:v>4.6213292117465201</c:v>
                </c:pt>
                <c:pt idx="121">
                  <c:v>4.6445131375579596</c:v>
                </c:pt>
                <c:pt idx="122">
                  <c:v>4.6445131375579596</c:v>
                </c:pt>
                <c:pt idx="123">
                  <c:v>4.6846986089644496</c:v>
                </c:pt>
                <c:pt idx="124">
                  <c:v>4.7264296754250399</c:v>
                </c:pt>
                <c:pt idx="125">
                  <c:v>4.7511591962905699</c:v>
                </c:pt>
                <c:pt idx="126">
                  <c:v>4.7805255023183904</c:v>
                </c:pt>
                <c:pt idx="127">
                  <c:v>4.8377125193199397</c:v>
                </c:pt>
                <c:pt idx="128">
                  <c:v>4.9149922720247297</c:v>
                </c:pt>
                <c:pt idx="129">
                  <c:v>4.9953632148377096</c:v>
                </c:pt>
                <c:pt idx="130">
                  <c:v>5.0602782071097403</c:v>
                </c:pt>
                <c:pt idx="131">
                  <c:v>5.0989180834621299</c:v>
                </c:pt>
                <c:pt idx="132">
                  <c:v>5.1282843894899504</c:v>
                </c:pt>
                <c:pt idx="133">
                  <c:v>5.1545595054095799</c:v>
                </c:pt>
                <c:pt idx="134">
                  <c:v>5.1715610510046401</c:v>
                </c:pt>
                <c:pt idx="135">
                  <c:v>5.1916537867078798</c:v>
                </c:pt>
                <c:pt idx="136">
                  <c:v>5.2302936630602801</c:v>
                </c:pt>
                <c:pt idx="137">
                  <c:v>5.2782071097372496</c:v>
                </c:pt>
                <c:pt idx="138">
                  <c:v>5.3214837712519296</c:v>
                </c:pt>
                <c:pt idx="139">
                  <c:v>5.3678516228748103</c:v>
                </c:pt>
                <c:pt idx="140">
                  <c:v>5.4250386398763499</c:v>
                </c:pt>
                <c:pt idx="141">
                  <c:v>5.4837712519319899</c:v>
                </c:pt>
                <c:pt idx="142">
                  <c:v>5.5255023183925802</c:v>
                </c:pt>
                <c:pt idx="143">
                  <c:v>5.5502318392581103</c:v>
                </c:pt>
                <c:pt idx="144">
                  <c:v>5.5842349304482202</c:v>
                </c:pt>
                <c:pt idx="145">
                  <c:v>5.6445131375579596</c:v>
                </c:pt>
                <c:pt idx="146">
                  <c:v>5.7233384853168499</c:v>
                </c:pt>
                <c:pt idx="147">
                  <c:v>5.7990726429675403</c:v>
                </c:pt>
                <c:pt idx="148">
                  <c:v>5.8438948995363198</c:v>
                </c:pt>
                <c:pt idx="149">
                  <c:v>5.8639876352395701</c:v>
                </c:pt>
                <c:pt idx="150">
                  <c:v>5.8856259659969101</c:v>
                </c:pt>
                <c:pt idx="151">
                  <c:v>5.9227202472952101</c:v>
                </c:pt>
                <c:pt idx="152">
                  <c:v>5.9737248840803696</c:v>
                </c:pt>
                <c:pt idx="153">
                  <c:v>6.04018547140649</c:v>
                </c:pt>
                <c:pt idx="154">
                  <c:v>6.1190108191653803</c:v>
                </c:pt>
                <c:pt idx="155">
                  <c:v>6.1978361669242696</c:v>
                </c:pt>
                <c:pt idx="156">
                  <c:v>6.26429675425039</c:v>
                </c:pt>
                <c:pt idx="157">
                  <c:v>6.32921174652241</c:v>
                </c:pt>
                <c:pt idx="158">
                  <c:v>6.4034003091190099</c:v>
                </c:pt>
                <c:pt idx="159">
                  <c:v>6.4945904173106603</c:v>
                </c:pt>
                <c:pt idx="160">
                  <c:v>6.5919629057186997</c:v>
                </c:pt>
                <c:pt idx="161">
                  <c:v>6.6646058732612099</c:v>
                </c:pt>
                <c:pt idx="162">
                  <c:v>6.69551777434312</c:v>
                </c:pt>
                <c:pt idx="163">
                  <c:v>6.7125193199381803</c:v>
                </c:pt>
                <c:pt idx="164">
                  <c:v>6.7527047913446703</c:v>
                </c:pt>
                <c:pt idx="165">
                  <c:v>6.8408037094281298</c:v>
                </c:pt>
                <c:pt idx="166">
                  <c:v>6.8408037094281298</c:v>
                </c:pt>
                <c:pt idx="167">
                  <c:v>6.8176197836166903</c:v>
                </c:pt>
                <c:pt idx="168">
                  <c:v>6.8176197836166903</c:v>
                </c:pt>
                <c:pt idx="169">
                  <c:v>6.8176197836166903</c:v>
                </c:pt>
                <c:pt idx="170">
                  <c:v>6.8176197836166903</c:v>
                </c:pt>
                <c:pt idx="171">
                  <c:v>6.8377125193199397</c:v>
                </c:pt>
                <c:pt idx="172">
                  <c:v>6.9690880989180801</c:v>
                </c:pt>
                <c:pt idx="173">
                  <c:v>6.9690880989180801</c:v>
                </c:pt>
                <c:pt idx="174">
                  <c:v>7.1854714064914997</c:v>
                </c:pt>
                <c:pt idx="175">
                  <c:v>7.1854714064914997</c:v>
                </c:pt>
                <c:pt idx="176">
                  <c:v>7.1051004636785198</c:v>
                </c:pt>
                <c:pt idx="177">
                  <c:v>7.2967542503863996</c:v>
                </c:pt>
                <c:pt idx="178">
                  <c:v>7.3462132921174703</c:v>
                </c:pt>
                <c:pt idx="179">
                  <c:v>7.3616692426584196</c:v>
                </c:pt>
                <c:pt idx="180">
                  <c:v>7.4744976816074198</c:v>
                </c:pt>
                <c:pt idx="181">
                  <c:v>7.4744976816074198</c:v>
                </c:pt>
                <c:pt idx="182">
                  <c:v>7.5641421947449796</c:v>
                </c:pt>
                <c:pt idx="183">
                  <c:v>7.6476043276661496</c:v>
                </c:pt>
                <c:pt idx="184">
                  <c:v>7.71406491499227</c:v>
                </c:pt>
                <c:pt idx="185">
                  <c:v>7.7202472952086598</c:v>
                </c:pt>
                <c:pt idx="186">
                  <c:v>7.7202472952086598</c:v>
                </c:pt>
                <c:pt idx="187">
                  <c:v>7.7727975270479099</c:v>
                </c:pt>
                <c:pt idx="188">
                  <c:v>7.7928902627511603</c:v>
                </c:pt>
                <c:pt idx="189">
                  <c:v>7.9041731066460601</c:v>
                </c:pt>
                <c:pt idx="190">
                  <c:v>8.0154559505409608</c:v>
                </c:pt>
                <c:pt idx="191">
                  <c:v>8.1282843894899504</c:v>
                </c:pt>
                <c:pt idx="192">
                  <c:v>8.2426584234930402</c:v>
                </c:pt>
                <c:pt idx="193">
                  <c:v>8.3554868624420404</c:v>
                </c:pt>
                <c:pt idx="194">
                  <c:v>8.4574961360123595</c:v>
                </c:pt>
                <c:pt idx="195">
                  <c:v>8.5316846986089594</c:v>
                </c:pt>
                <c:pt idx="196">
                  <c:v>8.5347758887171601</c:v>
                </c:pt>
                <c:pt idx="197">
                  <c:v>8.6058732612055593</c:v>
                </c:pt>
                <c:pt idx="198">
                  <c:v>8.7156105100463694</c:v>
                </c:pt>
                <c:pt idx="199">
                  <c:v>8.8361669242658394</c:v>
                </c:pt>
                <c:pt idx="200">
                  <c:v>8.9335394126738805</c:v>
                </c:pt>
                <c:pt idx="201">
                  <c:v>8.9829984544049495</c:v>
                </c:pt>
                <c:pt idx="202">
                  <c:v>8.9829984544049495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3B4C-45FE-B909-26D17C6F41D3}"/>
            </c:ext>
          </c:extLst>
        </c:ser>
        <c:ser>
          <c:idx val="1"/>
          <c:order val="1"/>
          <c:tx>
            <c:strRef>
              <c:f>'[ada 2016.xlsx]Sheet6'!$A$209</c:f>
              <c:strCache>
                <c:ptCount val="1"/>
                <c:pt idx="0">
                  <c:v>Empagliflozin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[ada 2016.xlsx]Sheet6'!$B$210:$B$379</c:f>
              <c:numCache>
                <c:formatCode>0.00</c:formatCode>
                <c:ptCount val="170"/>
                <c:pt idx="0">
                  <c:v>0</c:v>
                </c:pt>
                <c:pt idx="1">
                  <c:v>1.7414965986394599</c:v>
                </c:pt>
                <c:pt idx="2">
                  <c:v>1.7414965986394599</c:v>
                </c:pt>
                <c:pt idx="3">
                  <c:v>1.7414965986394599</c:v>
                </c:pt>
                <c:pt idx="4">
                  <c:v>2.3359497645211902</c:v>
                </c:pt>
                <c:pt idx="5">
                  <c:v>2.6289900575614902</c:v>
                </c:pt>
                <c:pt idx="6">
                  <c:v>2.92621664050235</c:v>
                </c:pt>
                <c:pt idx="7">
                  <c:v>3.2150706436420702</c:v>
                </c:pt>
                <c:pt idx="8">
                  <c:v>3.4997383568812102</c:v>
                </c:pt>
                <c:pt idx="9">
                  <c:v>3.7927786499215101</c:v>
                </c:pt>
                <c:pt idx="10">
                  <c:v>4.0941915227629497</c:v>
                </c:pt>
                <c:pt idx="11">
                  <c:v>4.3997906855049704</c:v>
                </c:pt>
                <c:pt idx="12">
                  <c:v>4.6970172684458404</c:v>
                </c:pt>
                <c:pt idx="13">
                  <c:v>4.98168498168498</c:v>
                </c:pt>
                <c:pt idx="14">
                  <c:v>5.2579801151229697</c:v>
                </c:pt>
                <c:pt idx="15">
                  <c:v>5.5468341182626899</c:v>
                </c:pt>
                <c:pt idx="16">
                  <c:v>5.8482469911041299</c:v>
                </c:pt>
                <c:pt idx="17">
                  <c:v>6.1496598639455797</c:v>
                </c:pt>
                <c:pt idx="18">
                  <c:v>6.4385138670852902</c:v>
                </c:pt>
                <c:pt idx="19">
                  <c:v>6.7148090005232897</c:v>
                </c:pt>
                <c:pt idx="20">
                  <c:v>6.9994767137624301</c:v>
                </c:pt>
                <c:pt idx="21">
                  <c:v>7.2925170068027203</c:v>
                </c:pt>
                <c:pt idx="22">
                  <c:v>7.5855572998430096</c:v>
                </c:pt>
                <c:pt idx="23">
                  <c:v>7.8827838827838796</c:v>
                </c:pt>
                <c:pt idx="24">
                  <c:v>8.1800104657247505</c:v>
                </c:pt>
                <c:pt idx="25">
                  <c:v>8.4730507587650408</c:v>
                </c:pt>
                <c:pt idx="26">
                  <c:v>8.7535321821036103</c:v>
                </c:pt>
                <c:pt idx="27">
                  <c:v>9.0214547357404502</c:v>
                </c:pt>
                <c:pt idx="28">
                  <c:v>9.2810047095761394</c:v>
                </c:pt>
                <c:pt idx="29">
                  <c:v>9.5447409733124005</c:v>
                </c:pt>
                <c:pt idx="30">
                  <c:v>9.8168498168498193</c:v>
                </c:pt>
                <c:pt idx="31">
                  <c:v>10.101517530089</c:v>
                </c:pt>
                <c:pt idx="32">
                  <c:v>10.394557823129301</c:v>
                </c:pt>
                <c:pt idx="33">
                  <c:v>10.6917844060701</c:v>
                </c:pt>
                <c:pt idx="34">
                  <c:v>10.989010989011</c:v>
                </c:pt>
                <c:pt idx="35">
                  <c:v>11.282051282051301</c:v>
                </c:pt>
                <c:pt idx="36">
                  <c:v>11.562532705389801</c:v>
                </c:pt>
                <c:pt idx="37">
                  <c:v>11.843014128728401</c:v>
                </c:pt>
                <c:pt idx="38">
                  <c:v>12.1276818419676</c:v>
                </c:pt>
                <c:pt idx="39">
                  <c:v>12.416535845107299</c:v>
                </c:pt>
                <c:pt idx="40">
                  <c:v>12.705389848247</c:v>
                </c:pt>
                <c:pt idx="41">
                  <c:v>12.994243851386701</c:v>
                </c:pt>
                <c:pt idx="42">
                  <c:v>13.278911564625901</c:v>
                </c:pt>
                <c:pt idx="43">
                  <c:v>13.567765567765599</c:v>
                </c:pt>
                <c:pt idx="44">
                  <c:v>13.8608058608059</c:v>
                </c:pt>
                <c:pt idx="45">
                  <c:v>14.1371009942439</c:v>
                </c:pt>
                <c:pt idx="46">
                  <c:v>14.379905808477201</c:v>
                </c:pt>
                <c:pt idx="47">
                  <c:v>14.618524332810001</c:v>
                </c:pt>
                <c:pt idx="48">
                  <c:v>14.8738880167452</c:v>
                </c:pt>
                <c:pt idx="49">
                  <c:v>15.1543694400837</c:v>
                </c:pt>
                <c:pt idx="50">
                  <c:v>15.451596023024599</c:v>
                </c:pt>
                <c:pt idx="51">
                  <c:v>15.7446363160649</c:v>
                </c:pt>
                <c:pt idx="52">
                  <c:v>16.033490319204599</c:v>
                </c:pt>
                <c:pt idx="53">
                  <c:v>16.313971742543199</c:v>
                </c:pt>
                <c:pt idx="54">
                  <c:v>16.5902668759812</c:v>
                </c:pt>
                <c:pt idx="55">
                  <c:v>16.866562009419201</c:v>
                </c:pt>
                <c:pt idx="56">
                  <c:v>17.1512297226583</c:v>
                </c:pt>
                <c:pt idx="57">
                  <c:v>17.448456305599201</c:v>
                </c:pt>
                <c:pt idx="58">
                  <c:v>17.7414965986395</c:v>
                </c:pt>
                <c:pt idx="59">
                  <c:v>18.034536891679799</c:v>
                </c:pt>
                <c:pt idx="60">
                  <c:v>18.3359497645212</c:v>
                </c:pt>
                <c:pt idx="61">
                  <c:v>18.6373626373626</c:v>
                </c:pt>
                <c:pt idx="62">
                  <c:v>18.938775510204099</c:v>
                </c:pt>
                <c:pt idx="63">
                  <c:v>19.240188383045499</c:v>
                </c:pt>
                <c:pt idx="64">
                  <c:v>19.541601255886999</c:v>
                </c:pt>
                <c:pt idx="65">
                  <c:v>19.834641548927301</c:v>
                </c:pt>
                <c:pt idx="66">
                  <c:v>20.1276818419676</c:v>
                </c:pt>
                <c:pt idx="67">
                  <c:v>20.408163265306101</c:v>
                </c:pt>
                <c:pt idx="68">
                  <c:v>20.676085818943001</c:v>
                </c:pt>
                <c:pt idx="69">
                  <c:v>20.952380952380999</c:v>
                </c:pt>
                <c:pt idx="70">
                  <c:v>21.237048665620101</c:v>
                </c:pt>
                <c:pt idx="71">
                  <c:v>21.5300889586604</c:v>
                </c:pt>
                <c:pt idx="72">
                  <c:v>21.8315018315018</c:v>
                </c:pt>
                <c:pt idx="73">
                  <c:v>22.128728414442701</c:v>
                </c:pt>
                <c:pt idx="74">
                  <c:v>22.421768707483</c:v>
                </c:pt>
                <c:pt idx="75">
                  <c:v>22.710622710622701</c:v>
                </c:pt>
                <c:pt idx="76">
                  <c:v>22.999476713762402</c:v>
                </c:pt>
                <c:pt idx="77">
                  <c:v>23.2841444270016</c:v>
                </c:pt>
                <c:pt idx="78">
                  <c:v>23.5729984301413</c:v>
                </c:pt>
                <c:pt idx="79">
                  <c:v>23.870225013082202</c:v>
                </c:pt>
                <c:pt idx="80">
                  <c:v>24.159079016221899</c:v>
                </c:pt>
                <c:pt idx="81">
                  <c:v>24.4353741496599</c:v>
                </c:pt>
                <c:pt idx="82">
                  <c:v>24.707482993197299</c:v>
                </c:pt>
                <c:pt idx="83">
                  <c:v>24.971219256933502</c:v>
                </c:pt>
                <c:pt idx="84">
                  <c:v>25.205651491365799</c:v>
                </c:pt>
                <c:pt idx="85">
                  <c:v>25.444270015698599</c:v>
                </c:pt>
                <c:pt idx="86">
                  <c:v>25.708006279434901</c:v>
                </c:pt>
                <c:pt idx="87">
                  <c:v>25.996860282574598</c:v>
                </c:pt>
                <c:pt idx="88">
                  <c:v>26.2940868655154</c:v>
                </c:pt>
                <c:pt idx="89">
                  <c:v>26.574568288854</c:v>
                </c:pt>
                <c:pt idx="90">
                  <c:v>26.8424908424908</c:v>
                </c:pt>
                <c:pt idx="91">
                  <c:v>27.110413396127701</c:v>
                </c:pt>
                <c:pt idx="92">
                  <c:v>27.395081109366799</c:v>
                </c:pt>
                <c:pt idx="93">
                  <c:v>27.692307692307701</c:v>
                </c:pt>
                <c:pt idx="94">
                  <c:v>27.976975405546799</c:v>
                </c:pt>
                <c:pt idx="95">
                  <c:v>28.228152799581402</c:v>
                </c:pt>
                <c:pt idx="96">
                  <c:v>28.479330193615901</c:v>
                </c:pt>
                <c:pt idx="97">
                  <c:v>28.7514390371533</c:v>
                </c:pt>
                <c:pt idx="98">
                  <c:v>29.0235478806907</c:v>
                </c:pt>
                <c:pt idx="99">
                  <c:v>29.287284144427002</c:v>
                </c:pt>
                <c:pt idx="100">
                  <c:v>29.538461538461501</c:v>
                </c:pt>
                <c:pt idx="101">
                  <c:v>29.793825222396599</c:v>
                </c:pt>
                <c:pt idx="102">
                  <c:v>30.065934065934101</c:v>
                </c:pt>
                <c:pt idx="103">
                  <c:v>30.3296703296703</c:v>
                </c:pt>
                <c:pt idx="104">
                  <c:v>30.564102564102601</c:v>
                </c:pt>
                <c:pt idx="105">
                  <c:v>30.798534798534799</c:v>
                </c:pt>
                <c:pt idx="106">
                  <c:v>31.062271062271101</c:v>
                </c:pt>
                <c:pt idx="107">
                  <c:v>31.3469387755102</c:v>
                </c:pt>
                <c:pt idx="108">
                  <c:v>31.639979068550499</c:v>
                </c:pt>
                <c:pt idx="109">
                  <c:v>31.933019361590802</c:v>
                </c:pt>
                <c:pt idx="110">
                  <c:v>32.234432234432198</c:v>
                </c:pt>
                <c:pt idx="111">
                  <c:v>32.531658817373099</c:v>
                </c:pt>
                <c:pt idx="112">
                  <c:v>32.824699110413398</c:v>
                </c:pt>
                <c:pt idx="113">
                  <c:v>33.117739403453697</c:v>
                </c:pt>
                <c:pt idx="114">
                  <c:v>33.419152276295101</c:v>
                </c:pt>
                <c:pt idx="115">
                  <c:v>33.728937728937701</c:v>
                </c:pt>
                <c:pt idx="116">
                  <c:v>34.021978021978001</c:v>
                </c:pt>
                <c:pt idx="117">
                  <c:v>34.268969126111998</c:v>
                </c:pt>
                <c:pt idx="118">
                  <c:v>34.507587650444798</c:v>
                </c:pt>
                <c:pt idx="119">
                  <c:v>34.767137624280501</c:v>
                </c:pt>
                <c:pt idx="120">
                  <c:v>35.039246467817897</c:v>
                </c:pt>
                <c:pt idx="121">
                  <c:v>35.3113553113553</c:v>
                </c:pt>
                <c:pt idx="122">
                  <c:v>35.583464154892702</c:v>
                </c:pt>
                <c:pt idx="123">
                  <c:v>35.868131868131897</c:v>
                </c:pt>
                <c:pt idx="124">
                  <c:v>36.161172161172203</c:v>
                </c:pt>
                <c:pt idx="125">
                  <c:v>36.4500261643119</c:v>
                </c:pt>
                <c:pt idx="126">
                  <c:v>36.738880167451597</c:v>
                </c:pt>
                <c:pt idx="127">
                  <c:v>37.031920460491897</c:v>
                </c:pt>
                <c:pt idx="128">
                  <c:v>37.329147043432798</c:v>
                </c:pt>
                <c:pt idx="129">
                  <c:v>37.6138147566719</c:v>
                </c:pt>
                <c:pt idx="130">
                  <c:v>37.877551020408198</c:v>
                </c:pt>
                <c:pt idx="131">
                  <c:v>38.1329147043433</c:v>
                </c:pt>
                <c:pt idx="132">
                  <c:v>38.400837257980101</c:v>
                </c:pt>
                <c:pt idx="133">
                  <c:v>38.677132391418098</c:v>
                </c:pt>
                <c:pt idx="134">
                  <c:v>38.945054945054899</c:v>
                </c:pt>
                <c:pt idx="135">
                  <c:v>39.221350078492897</c:v>
                </c:pt>
                <c:pt idx="136">
                  <c:v>39.506017791732098</c:v>
                </c:pt>
                <c:pt idx="137">
                  <c:v>39.790685504971201</c:v>
                </c:pt>
                <c:pt idx="138">
                  <c:v>40.062794348508604</c:v>
                </c:pt>
                <c:pt idx="139">
                  <c:v>40.318158032443698</c:v>
                </c:pt>
                <c:pt idx="140">
                  <c:v>40.535845107273701</c:v>
                </c:pt>
                <c:pt idx="141">
                  <c:v>40.711669283097898</c:v>
                </c:pt>
                <c:pt idx="142">
                  <c:v>40.858189429618001</c:v>
                </c:pt>
                <c:pt idx="143">
                  <c:v>41.004709576138097</c:v>
                </c:pt>
                <c:pt idx="144">
                  <c:v>41.025641025641001</c:v>
                </c:pt>
                <c:pt idx="145">
                  <c:v>41.327053898482497</c:v>
                </c:pt>
                <c:pt idx="146">
                  <c:v>41.6284667713239</c:v>
                </c:pt>
                <c:pt idx="147">
                  <c:v>41.9089481946625</c:v>
                </c:pt>
                <c:pt idx="148">
                  <c:v>42.197802197802197</c:v>
                </c:pt>
                <c:pt idx="149">
                  <c:v>42.499215070643601</c:v>
                </c:pt>
                <c:pt idx="150">
                  <c:v>42.800627943485097</c:v>
                </c:pt>
                <c:pt idx="151">
                  <c:v>43.097854526425998</c:v>
                </c:pt>
                <c:pt idx="152">
                  <c:v>43.378335949764498</c:v>
                </c:pt>
                <c:pt idx="153">
                  <c:v>43.633699633699599</c:v>
                </c:pt>
                <c:pt idx="154">
                  <c:v>43.8890633176348</c:v>
                </c:pt>
                <c:pt idx="155">
                  <c:v>44.165358451072699</c:v>
                </c:pt>
                <c:pt idx="156">
                  <c:v>44.466771323914202</c:v>
                </c:pt>
                <c:pt idx="157">
                  <c:v>44.763997906855103</c:v>
                </c:pt>
                <c:pt idx="158">
                  <c:v>45.0235478806907</c:v>
                </c:pt>
                <c:pt idx="159">
                  <c:v>45.274725274725299</c:v>
                </c:pt>
                <c:pt idx="160">
                  <c:v>45.538461538461497</c:v>
                </c:pt>
                <c:pt idx="161">
                  <c:v>45.823129251700699</c:v>
                </c:pt>
                <c:pt idx="162">
                  <c:v>46.111983254840403</c:v>
                </c:pt>
                <c:pt idx="163">
                  <c:v>46.388278388278401</c:v>
                </c:pt>
                <c:pt idx="164">
                  <c:v>46.396650968079499</c:v>
                </c:pt>
                <c:pt idx="165">
                  <c:v>46.986917844060699</c:v>
                </c:pt>
                <c:pt idx="166">
                  <c:v>46.986917844060699</c:v>
                </c:pt>
                <c:pt idx="167">
                  <c:v>47.288330716902102</c:v>
                </c:pt>
                <c:pt idx="168">
                  <c:v>47.891156462585002</c:v>
                </c:pt>
                <c:pt idx="169">
                  <c:v>47.891156462585002</c:v>
                </c:pt>
              </c:numCache>
            </c:numRef>
          </c:xVal>
          <c:yVal>
            <c:numRef>
              <c:f>'[ada 2016.xlsx]Sheet6'!$D$210:$D$379</c:f>
              <c:numCache>
                <c:formatCode>0.00</c:formatCode>
                <c:ptCount val="170"/>
                <c:pt idx="0">
                  <c:v>0</c:v>
                </c:pt>
                <c:pt idx="1">
                  <c:v>8.5007727975270495E-2</c:v>
                </c:pt>
                <c:pt idx="2">
                  <c:v>8.5007727975270495E-2</c:v>
                </c:pt>
                <c:pt idx="3">
                  <c:v>8.5007727975270495E-2</c:v>
                </c:pt>
                <c:pt idx="4">
                  <c:v>0.12210200927357</c:v>
                </c:pt>
                <c:pt idx="5">
                  <c:v>0.14374034003091199</c:v>
                </c:pt>
                <c:pt idx="6">
                  <c:v>0.15146831530139099</c:v>
                </c:pt>
                <c:pt idx="7">
                  <c:v>0.17001545595054099</c:v>
                </c:pt>
                <c:pt idx="8">
                  <c:v>0.19938176197836199</c:v>
                </c:pt>
                <c:pt idx="9">
                  <c:v>0.22565687789799099</c:v>
                </c:pt>
                <c:pt idx="10">
                  <c:v>0.239567233384853</c:v>
                </c:pt>
                <c:pt idx="11">
                  <c:v>0.24111282843894899</c:v>
                </c:pt>
                <c:pt idx="12">
                  <c:v>0.24884080370942799</c:v>
                </c:pt>
                <c:pt idx="13">
                  <c:v>0.27511591962905702</c:v>
                </c:pt>
                <c:pt idx="14">
                  <c:v>0.30911901081916499</c:v>
                </c:pt>
                <c:pt idx="15">
                  <c:v>0.32921174652241098</c:v>
                </c:pt>
                <c:pt idx="16">
                  <c:v>0.33230293663060301</c:v>
                </c:pt>
                <c:pt idx="17">
                  <c:v>0.33384853168469902</c:v>
                </c:pt>
                <c:pt idx="18">
                  <c:v>0.352395672333849</c:v>
                </c:pt>
                <c:pt idx="19">
                  <c:v>0.38639876352395702</c:v>
                </c:pt>
                <c:pt idx="20">
                  <c:v>0.41885625965996898</c:v>
                </c:pt>
                <c:pt idx="21">
                  <c:v>0.44667697063369399</c:v>
                </c:pt>
                <c:pt idx="22">
                  <c:v>0.47140649149922698</c:v>
                </c:pt>
                <c:pt idx="23">
                  <c:v>0.48995363214837701</c:v>
                </c:pt>
                <c:pt idx="24">
                  <c:v>0.49613601236476002</c:v>
                </c:pt>
                <c:pt idx="25">
                  <c:v>0.50850077279752703</c:v>
                </c:pt>
                <c:pt idx="26">
                  <c:v>0.54095826893353904</c:v>
                </c:pt>
                <c:pt idx="27">
                  <c:v>0.59041731066460601</c:v>
                </c:pt>
                <c:pt idx="28">
                  <c:v>0.64296754250386401</c:v>
                </c:pt>
                <c:pt idx="29">
                  <c:v>0.68469860896445101</c:v>
                </c:pt>
                <c:pt idx="30">
                  <c:v>0.71715610510046401</c:v>
                </c:pt>
                <c:pt idx="31">
                  <c:v>0.74034003091190104</c:v>
                </c:pt>
                <c:pt idx="32">
                  <c:v>0.75425038639876396</c:v>
                </c:pt>
                <c:pt idx="33">
                  <c:v>0.76352395672333895</c:v>
                </c:pt>
                <c:pt idx="34">
                  <c:v>0.77125193199381803</c:v>
                </c:pt>
                <c:pt idx="35">
                  <c:v>0.789799072642967</c:v>
                </c:pt>
                <c:pt idx="36">
                  <c:v>0.82380216383307603</c:v>
                </c:pt>
                <c:pt idx="37">
                  <c:v>0.86089644513137598</c:v>
                </c:pt>
                <c:pt idx="38">
                  <c:v>0.88871715610510005</c:v>
                </c:pt>
                <c:pt idx="39">
                  <c:v>0.91035548686244205</c:v>
                </c:pt>
                <c:pt idx="40">
                  <c:v>0.93044822256568804</c:v>
                </c:pt>
                <c:pt idx="41">
                  <c:v>0.958268933539413</c:v>
                </c:pt>
                <c:pt idx="42">
                  <c:v>0.99536321483771295</c:v>
                </c:pt>
                <c:pt idx="43">
                  <c:v>1.0278207109737301</c:v>
                </c:pt>
                <c:pt idx="44">
                  <c:v>1.05409582689335</c:v>
                </c:pt>
                <c:pt idx="45">
                  <c:v>1.09119010819165</c:v>
                </c:pt>
                <c:pt idx="46">
                  <c:v>1.14528593508501</c:v>
                </c:pt>
                <c:pt idx="47">
                  <c:v>1.1978361669242701</c:v>
                </c:pt>
                <c:pt idx="48">
                  <c:v>1.23956723338485</c:v>
                </c:pt>
                <c:pt idx="49">
                  <c:v>1.2704791344667701</c:v>
                </c:pt>
                <c:pt idx="50">
                  <c:v>1.2921174652241101</c:v>
                </c:pt>
                <c:pt idx="51">
                  <c:v>1.31221020092736</c:v>
                </c:pt>
                <c:pt idx="52">
                  <c:v>1.34003091190108</c:v>
                </c:pt>
                <c:pt idx="53">
                  <c:v>1.37712519319938</c:v>
                </c:pt>
                <c:pt idx="54">
                  <c:v>1.4250386398763499</c:v>
                </c:pt>
                <c:pt idx="55">
                  <c:v>1.4698608964451301</c:v>
                </c:pt>
                <c:pt idx="56">
                  <c:v>1.50077279752705</c:v>
                </c:pt>
                <c:pt idx="57">
                  <c:v>1.52241112828439</c:v>
                </c:pt>
                <c:pt idx="58">
                  <c:v>1.5425038639876401</c:v>
                </c:pt>
                <c:pt idx="59">
                  <c:v>1.55795981452859</c:v>
                </c:pt>
                <c:pt idx="60">
                  <c:v>1.56568778979907</c:v>
                </c:pt>
                <c:pt idx="61">
                  <c:v>1.5672333848531701</c:v>
                </c:pt>
                <c:pt idx="62">
                  <c:v>1.5672333848531701</c:v>
                </c:pt>
                <c:pt idx="63">
                  <c:v>1.5672333848531701</c:v>
                </c:pt>
                <c:pt idx="64">
                  <c:v>1.5672333848531701</c:v>
                </c:pt>
                <c:pt idx="65">
                  <c:v>1.5811437403400299</c:v>
                </c:pt>
                <c:pt idx="66">
                  <c:v>1.6027820710973699</c:v>
                </c:pt>
                <c:pt idx="67">
                  <c:v>1.6398763523956701</c:v>
                </c:pt>
                <c:pt idx="68">
                  <c:v>1.68469860896445</c:v>
                </c:pt>
                <c:pt idx="69">
                  <c:v>1.72797527047913</c:v>
                </c:pt>
                <c:pt idx="70">
                  <c:v>1.76043276661515</c:v>
                </c:pt>
                <c:pt idx="71">
                  <c:v>1.77588871715611</c:v>
                </c:pt>
                <c:pt idx="72">
                  <c:v>1.7789799072643</c:v>
                </c:pt>
                <c:pt idx="73">
                  <c:v>1.7882534775888701</c:v>
                </c:pt>
                <c:pt idx="74">
                  <c:v>1.81143740340031</c:v>
                </c:pt>
                <c:pt idx="75">
                  <c:v>1.8423493044822301</c:v>
                </c:pt>
                <c:pt idx="76">
                  <c:v>1.87635239567233</c:v>
                </c:pt>
                <c:pt idx="77">
                  <c:v>1.9103554868624399</c:v>
                </c:pt>
                <c:pt idx="78">
                  <c:v>1.93817619783617</c:v>
                </c:pt>
                <c:pt idx="79">
                  <c:v>1.9613601236475999</c:v>
                </c:pt>
                <c:pt idx="80">
                  <c:v>1.98918083462133</c:v>
                </c:pt>
                <c:pt idx="81">
                  <c:v>2.0278207109737298</c:v>
                </c:pt>
                <c:pt idx="82">
                  <c:v>2.06955177743431</c:v>
                </c:pt>
                <c:pt idx="83">
                  <c:v>2.1159196290571902</c:v>
                </c:pt>
                <c:pt idx="84">
                  <c:v>2.1777434312210202</c:v>
                </c:pt>
                <c:pt idx="85">
                  <c:v>2.2411128284389501</c:v>
                </c:pt>
                <c:pt idx="86">
                  <c:v>2.2843894899536301</c:v>
                </c:pt>
                <c:pt idx="87">
                  <c:v>2.3029366306027801</c:v>
                </c:pt>
                <c:pt idx="88">
                  <c:v>2.31530139103555</c:v>
                </c:pt>
                <c:pt idx="89">
                  <c:v>2.3462132921174699</c:v>
                </c:pt>
                <c:pt idx="90">
                  <c:v>2.3925811437403399</c:v>
                </c:pt>
                <c:pt idx="91">
                  <c:v>2.4404945904173099</c:v>
                </c:pt>
                <c:pt idx="92">
                  <c:v>2.4729520865533199</c:v>
                </c:pt>
                <c:pt idx="93">
                  <c:v>2.4914992272024699</c:v>
                </c:pt>
                <c:pt idx="94">
                  <c:v>2.5224111282843902</c:v>
                </c:pt>
                <c:pt idx="95">
                  <c:v>2.5765069551777402</c:v>
                </c:pt>
                <c:pt idx="96">
                  <c:v>2.6290571870170001</c:v>
                </c:pt>
                <c:pt idx="97">
                  <c:v>2.6615146831530101</c:v>
                </c:pt>
                <c:pt idx="98">
                  <c:v>2.69242658423493</c:v>
                </c:pt>
                <c:pt idx="99">
                  <c:v>2.7387944358578098</c:v>
                </c:pt>
                <c:pt idx="100">
                  <c:v>2.7975270479134502</c:v>
                </c:pt>
                <c:pt idx="101">
                  <c:v>2.8547140649149898</c:v>
                </c:pt>
                <c:pt idx="102">
                  <c:v>2.9010819165378701</c:v>
                </c:pt>
                <c:pt idx="103">
                  <c:v>2.94899536321484</c:v>
                </c:pt>
                <c:pt idx="104">
                  <c:v>3.0154559505409599</c:v>
                </c:pt>
                <c:pt idx="105">
                  <c:v>3.08037094281298</c:v>
                </c:pt>
                <c:pt idx="106">
                  <c:v>3.1190108191653798</c:v>
                </c:pt>
                <c:pt idx="107">
                  <c:v>3.1391035548686199</c:v>
                </c:pt>
                <c:pt idx="108">
                  <c:v>3.1576506955177699</c:v>
                </c:pt>
                <c:pt idx="109">
                  <c:v>3.1731066460587298</c:v>
                </c:pt>
                <c:pt idx="110">
                  <c:v>3.1854714064915002</c:v>
                </c:pt>
                <c:pt idx="111">
                  <c:v>3.2055641421947398</c:v>
                </c:pt>
                <c:pt idx="112">
                  <c:v>3.2302936630602801</c:v>
                </c:pt>
                <c:pt idx="113">
                  <c:v>3.2519319938176201</c:v>
                </c:pt>
                <c:pt idx="114">
                  <c:v>3.2581143740340002</c:v>
                </c:pt>
                <c:pt idx="115">
                  <c:v>3.2581143740340002</c:v>
                </c:pt>
                <c:pt idx="116">
                  <c:v>3.2689335394126702</c:v>
                </c:pt>
                <c:pt idx="117">
                  <c:v>3.3060278207109701</c:v>
                </c:pt>
                <c:pt idx="118">
                  <c:v>3.3493044822256599</c:v>
                </c:pt>
                <c:pt idx="119">
                  <c:v>3.38794435857805</c:v>
                </c:pt>
                <c:pt idx="120">
                  <c:v>3.4312210200927402</c:v>
                </c:pt>
                <c:pt idx="121">
                  <c:v>3.4822256568779002</c:v>
                </c:pt>
                <c:pt idx="122">
                  <c:v>3.5301391035548702</c:v>
                </c:pt>
                <c:pt idx="123">
                  <c:v>3.5595054095826901</c:v>
                </c:pt>
                <c:pt idx="124">
                  <c:v>3.5765069551777402</c:v>
                </c:pt>
                <c:pt idx="125">
                  <c:v>3.5950540958268902</c:v>
                </c:pt>
                <c:pt idx="126">
                  <c:v>3.60896445131376</c:v>
                </c:pt>
                <c:pt idx="127">
                  <c:v>3.61514683153014</c:v>
                </c:pt>
                <c:pt idx="128">
                  <c:v>3.62287480680062</c:v>
                </c:pt>
                <c:pt idx="129">
                  <c:v>3.65224111282844</c:v>
                </c:pt>
                <c:pt idx="130">
                  <c:v>3.7078825347758899</c:v>
                </c:pt>
                <c:pt idx="131">
                  <c:v>3.76506955177743</c:v>
                </c:pt>
                <c:pt idx="132">
                  <c:v>3.7990726429675399</c:v>
                </c:pt>
                <c:pt idx="133">
                  <c:v>3.8238021638330801</c:v>
                </c:pt>
                <c:pt idx="134">
                  <c:v>3.8608964451313801</c:v>
                </c:pt>
                <c:pt idx="135">
                  <c:v>3.9010819165378701</c:v>
                </c:pt>
                <c:pt idx="136">
                  <c:v>3.9242658423493002</c:v>
                </c:pt>
                <c:pt idx="137">
                  <c:v>3.94590417310665</c:v>
                </c:pt>
                <c:pt idx="138">
                  <c:v>3.98145285935085</c:v>
                </c:pt>
                <c:pt idx="139">
                  <c:v>4.0309119010819199</c:v>
                </c:pt>
                <c:pt idx="140">
                  <c:v>4.0973724884080402</c:v>
                </c:pt>
                <c:pt idx="141">
                  <c:v>4.1808346213292102</c:v>
                </c:pt>
                <c:pt idx="142">
                  <c:v>4.2766615146831501</c:v>
                </c:pt>
                <c:pt idx="143">
                  <c:v>4.3740340030911904</c:v>
                </c:pt>
                <c:pt idx="144">
                  <c:v>4.3740340030911904</c:v>
                </c:pt>
                <c:pt idx="145">
                  <c:v>4.3570324574961399</c:v>
                </c:pt>
                <c:pt idx="146">
                  <c:v>4.3570324574961399</c:v>
                </c:pt>
                <c:pt idx="147">
                  <c:v>4.3863987635239603</c:v>
                </c:pt>
                <c:pt idx="148">
                  <c:v>4.4157650695517798</c:v>
                </c:pt>
                <c:pt idx="149">
                  <c:v>4.4157650695517798</c:v>
                </c:pt>
                <c:pt idx="150">
                  <c:v>4.4157650695517798</c:v>
                </c:pt>
                <c:pt idx="151">
                  <c:v>4.4188562596599699</c:v>
                </c:pt>
                <c:pt idx="152">
                  <c:v>4.4544049459041704</c:v>
                </c:pt>
                <c:pt idx="153">
                  <c:v>4.5054095826893397</c:v>
                </c:pt>
                <c:pt idx="154">
                  <c:v>4.5486862442040197</c:v>
                </c:pt>
                <c:pt idx="155">
                  <c:v>4.5672333848531697</c:v>
                </c:pt>
                <c:pt idx="156">
                  <c:v>4.5672333848531697</c:v>
                </c:pt>
                <c:pt idx="157">
                  <c:v>4.5749613601236501</c:v>
                </c:pt>
                <c:pt idx="158">
                  <c:v>4.61205564142195</c:v>
                </c:pt>
                <c:pt idx="159">
                  <c:v>4.6661514683152996</c:v>
                </c:pt>
                <c:pt idx="160">
                  <c:v>4.7109737248840799</c:v>
                </c:pt>
                <c:pt idx="161">
                  <c:v>4.7295208655332299</c:v>
                </c:pt>
                <c:pt idx="162">
                  <c:v>4.7403400309119004</c:v>
                </c:pt>
                <c:pt idx="163">
                  <c:v>4.7820710973724898</c:v>
                </c:pt>
                <c:pt idx="164">
                  <c:v>4.9041731066460601</c:v>
                </c:pt>
                <c:pt idx="165">
                  <c:v>4.9428129829984497</c:v>
                </c:pt>
                <c:pt idx="166">
                  <c:v>4.9428129829984497</c:v>
                </c:pt>
                <c:pt idx="167">
                  <c:v>4.9397217928902597</c:v>
                </c:pt>
                <c:pt idx="168">
                  <c:v>4.9397217928902597</c:v>
                </c:pt>
                <c:pt idx="169">
                  <c:v>4.93972179289025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3B4C-45FE-B909-26D17C6F41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45738568"/>
        <c:axId val="545738896"/>
      </c:scatterChart>
      <c:valAx>
        <c:axId val="545738568"/>
        <c:scaling>
          <c:orientation val="minMax"/>
          <c:max val="54"/>
          <c:min val="0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недель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5738896"/>
        <c:crosses val="autoZero"/>
        <c:crossBetween val="midCat"/>
        <c:majorUnit val="6"/>
      </c:valAx>
      <c:valAx>
        <c:axId val="545738896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%</a:t>
                </a:r>
                <a:endParaRPr lang="en-US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rgbClr val="002060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" sourceLinked="0"/>
        <c:majorTickMark val="out"/>
        <c:minorTickMark val="none"/>
        <c:tickLblPos val="nextTo"/>
        <c:spPr>
          <a:noFill/>
          <a:ln w="19050" cap="flat" cmpd="sng" algn="ctr">
            <a:solidFill>
              <a:srgbClr val="4472C4"/>
            </a:solidFill>
            <a:prstDash val="solid"/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4573856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419573490813648"/>
          <c:y val="0.53700896762904637"/>
          <c:w val="0.55093153980752418"/>
          <c:h val="0.112246513878502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 sz="1000"/>
      </a:pPr>
      <a:endParaRPr lang="ru-RU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233</cdr:x>
      <cdr:y>0</cdr:y>
    </cdr:from>
    <cdr:to>
      <cdr:x>0.43741</cdr:x>
      <cdr:y>0.08514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00828220-2706-4404-9F3B-507F7F44F887}"/>
            </a:ext>
          </a:extLst>
        </cdr:cNvPr>
        <cdr:cNvSpPr txBox="1"/>
      </cdr:nvSpPr>
      <cdr:spPr>
        <a:xfrm xmlns:a="http://schemas.openxmlformats.org/drawingml/2006/main">
          <a:off x="228603" y="0"/>
          <a:ext cx="2133433" cy="42840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dirty="0">
              <a:solidFill>
                <a:schemeClr val="tx2"/>
              </a:solidFill>
            </a:rPr>
            <a:t>Первичная конечная</a:t>
          </a:r>
          <a:r>
            <a:rPr lang="ru-RU" sz="1600" baseline="0" dirty="0">
              <a:solidFill>
                <a:schemeClr val="tx2"/>
              </a:solidFill>
            </a:rPr>
            <a:t> точка</a:t>
          </a:r>
          <a:endParaRPr lang="en-US" sz="1600" dirty="0">
            <a:solidFill>
              <a:schemeClr val="tx2"/>
            </a:solidFill>
          </a:endParaRPr>
        </a:p>
      </cdr:txBody>
    </cdr:sp>
  </cdr:relSizeAnchor>
  <cdr:relSizeAnchor xmlns:cdr="http://schemas.openxmlformats.org/drawingml/2006/chartDrawing">
    <cdr:from>
      <cdr:x>0.17085</cdr:x>
      <cdr:y>0.10403</cdr:y>
    </cdr:from>
    <cdr:to>
      <cdr:x>0.58457</cdr:x>
      <cdr:y>0.36512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F8BF0D09-BC5B-4749-825C-658C6505E3A0}"/>
            </a:ext>
          </a:extLst>
        </cdr:cNvPr>
        <cdr:cNvSpPr txBox="1"/>
      </cdr:nvSpPr>
      <cdr:spPr>
        <a:xfrm xmlns:a="http://schemas.openxmlformats.org/drawingml/2006/main">
          <a:off x="781135" y="523438"/>
          <a:ext cx="1891528" cy="131375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400" b="0" i="0" u="none" strike="noStrike" baseline="0" dirty="0">
              <a:solidFill>
                <a:schemeClr val="tx2"/>
              </a:solidFill>
            </a:rPr>
            <a:t>Hazard ratio, 0.86 (95% CI, 0.75–0.97)</a:t>
          </a:r>
        </a:p>
        <a:p xmlns:a="http://schemas.openxmlformats.org/drawingml/2006/main">
          <a:r>
            <a:rPr lang="en-US" sz="1400" b="0" i="0" u="none" strike="noStrike" baseline="0" dirty="0">
              <a:solidFill>
                <a:schemeClr val="tx2"/>
              </a:solidFill>
            </a:rPr>
            <a:t>P&lt;0.001 for noninferiority</a:t>
          </a:r>
        </a:p>
        <a:p xmlns:a="http://schemas.openxmlformats.org/drawingml/2006/main">
          <a:r>
            <a:rPr lang="en-US" sz="1400" b="0" i="0" u="none" strike="noStrike" baseline="0" dirty="0">
              <a:solidFill>
                <a:schemeClr val="tx2"/>
              </a:solidFill>
            </a:rPr>
            <a:t>P=0.02 for superiority</a:t>
          </a:r>
          <a:endParaRPr lang="en-US" sz="1400" dirty="0">
            <a:solidFill>
              <a:schemeClr val="tx2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4204</cdr:x>
      <cdr:y>0.07761</cdr:y>
    </cdr:from>
    <cdr:to>
      <cdr:x>0.69371</cdr:x>
      <cdr:y>0.1958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097365" y="356800"/>
          <a:ext cx="2047826" cy="5434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b="0" i="0" u="none" strike="noStrike" baseline="0" dirty="0">
              <a:solidFill>
                <a:srgbClr val="002060"/>
              </a:solidFill>
              <a:latin typeface="+mn-lt"/>
              <a:ea typeface="+mn-ea"/>
              <a:cs typeface="+mn-cs"/>
            </a:rPr>
            <a:t>0.</a:t>
          </a:r>
          <a:r>
            <a:rPr lang="ru-RU" sz="1100" b="0" i="0" u="none" strike="noStrike" baseline="0" dirty="0">
              <a:solidFill>
                <a:srgbClr val="002060"/>
              </a:solidFill>
              <a:latin typeface="+mn-lt"/>
              <a:ea typeface="+mn-ea"/>
              <a:cs typeface="+mn-cs"/>
            </a:rPr>
            <a:t>86</a:t>
          </a:r>
          <a:r>
            <a:rPr lang="en-US" sz="1100" b="0" i="0" u="none" strike="noStrike" baseline="0" dirty="0">
              <a:solidFill>
                <a:srgbClr val="002060"/>
              </a:solidFill>
              <a:latin typeface="+mn-lt"/>
              <a:ea typeface="+mn-ea"/>
              <a:cs typeface="+mn-cs"/>
            </a:rPr>
            <a:t> (95% CI, 0.</a:t>
          </a:r>
          <a:r>
            <a:rPr lang="ru-RU" sz="1100" b="0" i="0" u="none" strike="noStrike" baseline="0" dirty="0">
              <a:solidFill>
                <a:srgbClr val="002060"/>
              </a:solidFill>
              <a:latin typeface="+mn-lt"/>
              <a:ea typeface="+mn-ea"/>
              <a:cs typeface="+mn-cs"/>
            </a:rPr>
            <a:t>74</a:t>
          </a:r>
          <a:r>
            <a:rPr lang="en-US" sz="1100" b="0" i="0" u="none" strike="noStrike" baseline="0" dirty="0">
              <a:solidFill>
                <a:srgbClr val="002060"/>
              </a:solidFill>
              <a:latin typeface="+mn-lt"/>
              <a:ea typeface="+mn-ea"/>
              <a:cs typeface="+mn-cs"/>
            </a:rPr>
            <a:t>–0.</a:t>
          </a:r>
          <a:r>
            <a:rPr lang="ru-RU" sz="1100" b="0" i="0" u="none" strike="noStrike" baseline="0" dirty="0">
              <a:solidFill>
                <a:srgbClr val="002060"/>
              </a:solidFill>
              <a:latin typeface="+mn-lt"/>
              <a:ea typeface="+mn-ea"/>
              <a:cs typeface="+mn-cs"/>
            </a:rPr>
            <a:t>99</a:t>
          </a:r>
          <a:r>
            <a:rPr lang="en-US" sz="1100" b="0" i="0" u="none" strike="noStrike" baseline="0" dirty="0">
              <a:solidFill>
                <a:srgbClr val="002060"/>
              </a:solidFill>
              <a:latin typeface="+mn-lt"/>
              <a:ea typeface="+mn-ea"/>
              <a:cs typeface="+mn-cs"/>
            </a:rPr>
            <a:t>)</a:t>
          </a:r>
        </a:p>
        <a:p xmlns:a="http://schemas.openxmlformats.org/drawingml/2006/main">
          <a:r>
            <a:rPr lang="en-US" sz="1100" b="0" i="0" u="none" strike="noStrike" baseline="0" dirty="0">
              <a:solidFill>
                <a:srgbClr val="002060"/>
              </a:solidFill>
            </a:rPr>
            <a:t>P=0.0</a:t>
          </a:r>
          <a:r>
            <a:rPr lang="ru-RU" sz="1100" b="0" i="0" u="none" strike="noStrike" baseline="0" dirty="0">
              <a:solidFill>
                <a:srgbClr val="002060"/>
              </a:solidFill>
            </a:rPr>
            <a:t>4</a:t>
          </a:r>
          <a:endParaRPr lang="ru-RU" sz="1100" dirty="0">
            <a:solidFill>
              <a:srgbClr val="002060"/>
            </a:solidFill>
          </a:endParaRPr>
        </a:p>
      </cdr:txBody>
    </cdr:sp>
  </cdr:relSizeAnchor>
  <cdr:relSizeAnchor xmlns:cdr="http://schemas.openxmlformats.org/drawingml/2006/chartDrawing">
    <cdr:from>
      <cdr:x>0.00167</cdr:x>
      <cdr:y>0.82148</cdr:y>
    </cdr:from>
    <cdr:to>
      <cdr:x>1</cdr:x>
      <cdr:y>1</cdr:y>
    </cdr:to>
    <cdr:sp macro="" textlink="">
      <cdr:nvSpPr>
        <cdr:cNvPr id="4" name="TextBox 2"/>
        <cdr:cNvSpPr txBox="1"/>
      </cdr:nvSpPr>
      <cdr:spPr>
        <a:xfrm xmlns:a="http://schemas.openxmlformats.org/drawingml/2006/main">
          <a:off x="8246" y="2973350"/>
          <a:ext cx="4929514" cy="6461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dirty="0">
              <a:solidFill>
                <a:srgbClr val="002060"/>
              </a:solidFill>
              <a:effectLst/>
            </a:rPr>
            <a:t>Zinman, B. </a:t>
          </a:r>
          <a:r>
            <a:rPr lang="en-US" i="1" dirty="0">
              <a:solidFill>
                <a:srgbClr val="002060"/>
              </a:solidFill>
              <a:effectLst/>
            </a:rPr>
            <a:t>et al.</a:t>
          </a:r>
          <a:r>
            <a:rPr lang="en-US" dirty="0">
              <a:solidFill>
                <a:srgbClr val="002060"/>
              </a:solidFill>
              <a:effectLst/>
            </a:rPr>
            <a:t> </a:t>
          </a:r>
          <a:r>
            <a:rPr lang="en-US" dirty="0" err="1">
              <a:solidFill>
                <a:srgbClr val="002060"/>
              </a:solidFill>
              <a:effectLst/>
            </a:rPr>
            <a:t>Empagliflozin</a:t>
          </a:r>
          <a:r>
            <a:rPr lang="en-US" dirty="0">
              <a:solidFill>
                <a:srgbClr val="002060"/>
              </a:solidFill>
              <a:effectLst/>
            </a:rPr>
            <a:t>, Cardiovascular Outcomes, and Mortality in Type 2 Diabetes. </a:t>
          </a:r>
          <a:r>
            <a:rPr lang="en-US" i="1" dirty="0">
              <a:solidFill>
                <a:srgbClr val="002060"/>
              </a:solidFill>
              <a:effectLst/>
            </a:rPr>
            <a:t>New England Journal of Medicine</a:t>
          </a:r>
          <a:r>
            <a:rPr lang="en-US" dirty="0">
              <a:solidFill>
                <a:srgbClr val="002060"/>
              </a:solidFill>
              <a:effectLst/>
            </a:rPr>
            <a:t> 150917085022006 (2015). doi:10.1056/NEJMoa1504720</a:t>
          </a:r>
        </a:p>
        <a:p xmlns:a="http://schemas.openxmlformats.org/drawingml/2006/main">
          <a:endParaRPr lang="ru-RU" sz="1100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35</cdr:x>
      <cdr:y>0.21705</cdr:y>
    </cdr:from>
    <cdr:to>
      <cdr:x>0.68667</cdr:x>
      <cdr:y>0.33527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074420" y="853440"/>
          <a:ext cx="2065020" cy="4648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b="0" i="0" u="none" strike="noStrike" baseline="0" dirty="0">
              <a:solidFill>
                <a:srgbClr val="002060"/>
              </a:solidFill>
              <a:latin typeface="+mn-lt"/>
              <a:ea typeface="+mn-ea"/>
              <a:cs typeface="+mn-cs"/>
            </a:rPr>
            <a:t>0.62 (95% CI, 0.49–0.77)</a:t>
          </a:r>
        </a:p>
        <a:p xmlns:a="http://schemas.openxmlformats.org/drawingml/2006/main">
          <a:r>
            <a:rPr lang="en-US" sz="1100" b="0" i="0" u="none" strike="noStrike" baseline="0" dirty="0">
              <a:solidFill>
                <a:srgbClr val="002060"/>
              </a:solidFill>
              <a:latin typeface="+mn-lt"/>
              <a:ea typeface="+mn-ea"/>
              <a:cs typeface="+mn-cs"/>
            </a:rPr>
            <a:t>P&lt;0.001</a:t>
          </a:r>
        </a:p>
      </cdr:txBody>
    </cdr:sp>
  </cdr:relSizeAnchor>
  <cdr:relSizeAnchor xmlns:cdr="http://schemas.openxmlformats.org/drawingml/2006/chartDrawing">
    <cdr:from>
      <cdr:x>0.00167</cdr:x>
      <cdr:y>0.85976</cdr:y>
    </cdr:from>
    <cdr:to>
      <cdr:x>1</cdr:x>
      <cdr:y>1</cdr:y>
    </cdr:to>
    <cdr:sp macro="" textlink="">
      <cdr:nvSpPr>
        <cdr:cNvPr id="5" name="TextBox 2"/>
        <cdr:cNvSpPr txBox="1"/>
      </cdr:nvSpPr>
      <cdr:spPr>
        <a:xfrm xmlns:a="http://schemas.openxmlformats.org/drawingml/2006/main">
          <a:off x="7422" y="3780631"/>
          <a:ext cx="4436987" cy="6166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dirty="0">
              <a:solidFill>
                <a:srgbClr val="002060"/>
              </a:solidFill>
              <a:effectLst/>
            </a:rPr>
            <a:t>Zinman, B. </a:t>
          </a:r>
          <a:r>
            <a:rPr lang="en-US" i="1" dirty="0">
              <a:solidFill>
                <a:srgbClr val="002060"/>
              </a:solidFill>
              <a:effectLst/>
            </a:rPr>
            <a:t>et al.</a:t>
          </a:r>
          <a:r>
            <a:rPr lang="en-US" dirty="0">
              <a:solidFill>
                <a:srgbClr val="002060"/>
              </a:solidFill>
              <a:effectLst/>
            </a:rPr>
            <a:t> </a:t>
          </a:r>
          <a:r>
            <a:rPr lang="en-US" dirty="0" err="1">
              <a:solidFill>
                <a:srgbClr val="002060"/>
              </a:solidFill>
              <a:effectLst/>
            </a:rPr>
            <a:t>Empagliflozin</a:t>
          </a:r>
          <a:r>
            <a:rPr lang="en-US" dirty="0">
              <a:solidFill>
                <a:srgbClr val="002060"/>
              </a:solidFill>
              <a:effectLst/>
            </a:rPr>
            <a:t>, Cardiovascular Outcomes, and Mortality in Type 2 Diabetes. </a:t>
          </a:r>
          <a:r>
            <a:rPr lang="en-US" i="1" dirty="0">
              <a:solidFill>
                <a:srgbClr val="002060"/>
              </a:solidFill>
              <a:effectLst/>
            </a:rPr>
            <a:t>New England Journal of Medicine</a:t>
          </a:r>
          <a:r>
            <a:rPr lang="en-US" dirty="0">
              <a:solidFill>
                <a:srgbClr val="002060"/>
              </a:solidFill>
              <a:effectLst/>
            </a:rPr>
            <a:t> 150917085022006 (2015). doi:10.1056/NEJMoa1504720</a:t>
          </a:r>
        </a:p>
        <a:p xmlns:a="http://schemas.openxmlformats.org/drawingml/2006/main">
          <a:endParaRPr lang="ru-RU" sz="1100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21595</cdr:x>
      <cdr:y>0.33747</cdr:y>
    </cdr:from>
    <cdr:to>
      <cdr:x>0.66762</cdr:x>
      <cdr:y>0.45569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987334" y="1342319"/>
          <a:ext cx="2065035" cy="4702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b="0" i="0" u="none" strike="noStrike" baseline="0" dirty="0">
              <a:solidFill>
                <a:srgbClr val="002060"/>
              </a:solidFill>
              <a:latin typeface="+mn-lt"/>
              <a:ea typeface="+mn-ea"/>
              <a:cs typeface="+mn-cs"/>
            </a:rPr>
            <a:t>0.65 (95% CI, 0.50–0.85)</a:t>
          </a:r>
        </a:p>
        <a:p xmlns:a="http://schemas.openxmlformats.org/drawingml/2006/main">
          <a:r>
            <a:rPr lang="en-US" sz="1100" b="0" i="0" u="none" strike="noStrike" baseline="0" dirty="0">
              <a:solidFill>
                <a:srgbClr val="002060"/>
              </a:solidFill>
            </a:rPr>
            <a:t>P=0.002</a:t>
          </a:r>
          <a:endParaRPr lang="ru-RU" sz="1100" dirty="0">
            <a:solidFill>
              <a:srgbClr val="002060"/>
            </a:solidFill>
          </a:endParaRPr>
        </a:p>
      </cdr:txBody>
    </cdr:sp>
  </cdr:relSizeAnchor>
  <cdr:relSizeAnchor xmlns:cdr="http://schemas.openxmlformats.org/drawingml/2006/chartDrawing">
    <cdr:from>
      <cdr:x>0.00167</cdr:x>
      <cdr:y>0.87918</cdr:y>
    </cdr:from>
    <cdr:to>
      <cdr:x>1</cdr:x>
      <cdr:y>1</cdr:y>
    </cdr:to>
    <cdr:sp macro="" textlink="">
      <cdr:nvSpPr>
        <cdr:cNvPr id="9" name="TextBox 2"/>
        <cdr:cNvSpPr txBox="1"/>
      </cdr:nvSpPr>
      <cdr:spPr>
        <a:xfrm xmlns:a="http://schemas.openxmlformats.org/drawingml/2006/main">
          <a:off x="7531" y="3943272"/>
          <a:ext cx="4502144" cy="5419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dirty="0">
              <a:solidFill>
                <a:srgbClr val="002060"/>
              </a:solidFill>
              <a:effectLst/>
            </a:rPr>
            <a:t>Zinman, B. </a:t>
          </a:r>
          <a:r>
            <a:rPr lang="en-US" i="1" dirty="0">
              <a:solidFill>
                <a:srgbClr val="002060"/>
              </a:solidFill>
              <a:effectLst/>
            </a:rPr>
            <a:t>et al.</a:t>
          </a:r>
          <a:r>
            <a:rPr lang="en-US" dirty="0">
              <a:solidFill>
                <a:srgbClr val="002060"/>
              </a:solidFill>
              <a:effectLst/>
            </a:rPr>
            <a:t> </a:t>
          </a:r>
          <a:r>
            <a:rPr lang="en-US" dirty="0" err="1">
              <a:solidFill>
                <a:srgbClr val="002060"/>
              </a:solidFill>
              <a:effectLst/>
            </a:rPr>
            <a:t>Empagliflozin</a:t>
          </a:r>
          <a:r>
            <a:rPr lang="en-US" dirty="0">
              <a:solidFill>
                <a:srgbClr val="002060"/>
              </a:solidFill>
              <a:effectLst/>
            </a:rPr>
            <a:t>, Cardiovascular Outcomes, and Mortality in Type 2 Diabetes. </a:t>
          </a:r>
          <a:r>
            <a:rPr lang="en-US" i="1" dirty="0">
              <a:solidFill>
                <a:srgbClr val="002060"/>
              </a:solidFill>
              <a:effectLst/>
            </a:rPr>
            <a:t>New England Journal of Medicine</a:t>
          </a:r>
          <a:r>
            <a:rPr lang="en-US" dirty="0">
              <a:solidFill>
                <a:srgbClr val="002060"/>
              </a:solidFill>
              <a:effectLst/>
            </a:rPr>
            <a:t> 150917085022006 (2015). doi:10.1056/NEJMoa1504720</a:t>
          </a:r>
        </a:p>
        <a:p xmlns:a="http://schemas.openxmlformats.org/drawingml/2006/main">
          <a:endParaRPr lang="ru-RU" sz="1100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35</cdr:x>
      <cdr:y>0.21705</cdr:y>
    </cdr:from>
    <cdr:to>
      <cdr:x>0.68667</cdr:x>
      <cdr:y>0.3352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74420" y="853440"/>
          <a:ext cx="2065020" cy="4648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100" b="0" i="0" u="none" strike="noStrike" baseline="0" dirty="0">
              <a:solidFill>
                <a:srgbClr val="002060"/>
              </a:solidFill>
              <a:latin typeface="+mn-lt"/>
              <a:ea typeface="+mn-ea"/>
              <a:cs typeface="+mn-cs"/>
            </a:rPr>
            <a:t>0.68 (95% CI, 0.57–0.82)</a:t>
          </a:r>
        </a:p>
        <a:p xmlns:a="http://schemas.openxmlformats.org/drawingml/2006/main">
          <a:r>
            <a:rPr lang="en-US" sz="1100" b="0" i="0" u="none" strike="noStrike" baseline="0" dirty="0">
              <a:solidFill>
                <a:srgbClr val="002060"/>
              </a:solidFill>
            </a:rPr>
            <a:t>P&lt;0.001</a:t>
          </a:r>
          <a:endParaRPr lang="ru-RU" sz="1100" dirty="0">
            <a:solidFill>
              <a:srgbClr val="002060"/>
            </a:solidFill>
          </a:endParaRPr>
        </a:p>
      </cdr:txBody>
    </cdr:sp>
  </cdr:relSizeAnchor>
  <cdr:relSizeAnchor xmlns:cdr="http://schemas.openxmlformats.org/drawingml/2006/chartDrawing">
    <cdr:from>
      <cdr:x>0.00167</cdr:x>
      <cdr:y>0.82148</cdr:y>
    </cdr:from>
    <cdr:to>
      <cdr:x>1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8246" y="2973350"/>
          <a:ext cx="4929514" cy="6461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dirty="0">
              <a:solidFill>
                <a:srgbClr val="002060"/>
              </a:solidFill>
              <a:effectLst/>
            </a:rPr>
            <a:t>Zinman, B. </a:t>
          </a:r>
          <a:r>
            <a:rPr lang="en-US" i="1" dirty="0">
              <a:solidFill>
                <a:srgbClr val="002060"/>
              </a:solidFill>
              <a:effectLst/>
            </a:rPr>
            <a:t>et al.</a:t>
          </a:r>
          <a:r>
            <a:rPr lang="en-US" dirty="0">
              <a:solidFill>
                <a:srgbClr val="002060"/>
              </a:solidFill>
              <a:effectLst/>
            </a:rPr>
            <a:t> </a:t>
          </a:r>
          <a:r>
            <a:rPr lang="en-US" dirty="0" err="1">
              <a:solidFill>
                <a:srgbClr val="002060"/>
              </a:solidFill>
              <a:effectLst/>
            </a:rPr>
            <a:t>Empagliflozin</a:t>
          </a:r>
          <a:r>
            <a:rPr lang="en-US" dirty="0">
              <a:solidFill>
                <a:srgbClr val="002060"/>
              </a:solidFill>
              <a:effectLst/>
            </a:rPr>
            <a:t>, Cardiovascular Outcomes, and Mortality in Type 2 Diabetes. </a:t>
          </a:r>
          <a:r>
            <a:rPr lang="en-US" i="1" dirty="0">
              <a:solidFill>
                <a:srgbClr val="002060"/>
              </a:solidFill>
              <a:effectLst/>
            </a:rPr>
            <a:t>New England Journal of Medicine</a:t>
          </a:r>
          <a:r>
            <a:rPr lang="en-US" dirty="0">
              <a:solidFill>
                <a:srgbClr val="002060"/>
              </a:solidFill>
              <a:effectLst/>
            </a:rPr>
            <a:t> 150917085022006 (2015). doi:10.1056/NEJMoa1504720</a:t>
          </a:r>
        </a:p>
        <a:p xmlns:a="http://schemas.openxmlformats.org/drawingml/2006/main">
          <a:endParaRPr lang="ru-RU" sz="1100" dirty="0"/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</cdr:x>
      <cdr:y>0.87315</cdr:y>
    </cdr:from>
    <cdr:to>
      <cdr:x>1</cdr:x>
      <cdr:y>0.9769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3147060"/>
          <a:ext cx="4572000" cy="37407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r>
            <a:rPr lang="en-US" sz="900" dirty="0"/>
            <a:t>Zinman, B. et al. </a:t>
          </a:r>
          <a:r>
            <a:rPr lang="en-US" sz="900" dirty="0" err="1"/>
            <a:t>Empagliflozin</a:t>
          </a:r>
          <a:r>
            <a:rPr lang="en-US" sz="900" dirty="0"/>
            <a:t>, Cardiovascular Outcomes, and Mortality in Type 2 Diabetes. New England Journal of Medicine 150917085022006 (2015). doi:10.1056/NEJMoa1504720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236A47-9073-4271-8EFE-6C7ABCC602C6}" type="datetimeFigureOut">
              <a:rPr lang="ru-RU" smtClean="0"/>
              <a:t>16.11.2018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BF33F9-3114-4D03-81D2-643724AFC0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77265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6299084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805602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16273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7481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множественные факторы риска ССЗ или ССЗ (определяемое как клинически выраженное ишемическое сердце</a:t>
            </a:r>
          </a:p>
          <a:p>
            <a:r>
              <a:rPr lang="ru-RU" dirty="0"/>
              <a:t>болезнь, ишемическое цереброваскулярное заболевание или болезнь периферических артерий). Участники с несколькими</a:t>
            </a:r>
          </a:p>
          <a:p>
            <a:r>
              <a:rPr lang="ru-RU" dirty="0"/>
              <a:t>факторами риска были мужчины в возрасте 55 лет или старше или</a:t>
            </a:r>
          </a:p>
          <a:p>
            <a:r>
              <a:rPr lang="ru-RU" dirty="0"/>
              <a:t>женщины в возрасте 60 лет и старше, у которых был</a:t>
            </a:r>
          </a:p>
          <a:p>
            <a:r>
              <a:rPr lang="ru-RU" dirty="0"/>
              <a:t>более традиционные факторы риска, включая гипертонию,</a:t>
            </a:r>
          </a:p>
          <a:p>
            <a:r>
              <a:rPr lang="ru-RU" dirty="0"/>
              <a:t>дислипидемия (определяемая как низкая плотность</a:t>
            </a:r>
          </a:p>
          <a:p>
            <a:r>
              <a:rPr lang="ru-RU" dirty="0"/>
              <a:t>уровень холестерина липопротеина&gt; 130 мг на децилитр</a:t>
            </a:r>
          </a:p>
          <a:p>
            <a:r>
              <a:rPr lang="ru-RU" dirty="0"/>
              <a:t>[3,36 ммоль / л] или использование липидов</a:t>
            </a:r>
          </a:p>
          <a:p>
            <a:r>
              <a:rPr lang="ru-RU" dirty="0"/>
              <a:t>терапия) или употребление табака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BF33F9-3114-4D03-81D2-643724AFC06A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96120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BF33F9-3114-4D03-81D2-643724AFC06A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3598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959563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Сердечно-сосудистая</a:t>
            </a:r>
            <a:r>
              <a:rPr lang="ru-RU" sz="16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1600" dirty="0">
                <a:sym typeface="Wingdings" panose="05000000000000000000" pitchFamily="2" charset="2"/>
              </a:rPr>
              <a:t></a:t>
            </a:r>
            <a:r>
              <a:rPr lang="ru-RU" sz="1600" dirty="0">
                <a:sym typeface="Wingdings" panose="05000000000000000000" pitchFamily="2" charset="2"/>
              </a:rPr>
              <a:t> 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нефатальный инфаркт миокарда, нефатальный инсульт, коронарная реваскуляризация или нестабильная стенокардия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BF33F9-3114-4D03-81D2-643724AFC06A}" type="slidenum">
              <a:rPr lang="ru-RU" smtClean="0"/>
              <a:t>3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71287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множественные факторы риска ССЗ или ССЗ (определяемое как клинически выраженное ишемическое сердце</a:t>
            </a:r>
          </a:p>
          <a:p>
            <a:r>
              <a:rPr lang="ru-RU" dirty="0"/>
              <a:t>болезнь, ишемическое цереброваскулярное заболевание или болезнь периферических артерий). Участники с несколькими</a:t>
            </a:r>
          </a:p>
          <a:p>
            <a:r>
              <a:rPr lang="ru-RU" dirty="0"/>
              <a:t>факторами риска были мужчины в возрасте 55 лет или старше или</a:t>
            </a:r>
          </a:p>
          <a:p>
            <a:r>
              <a:rPr lang="ru-RU" dirty="0"/>
              <a:t>женщины в возрасте 60 лет и старше, у которых был</a:t>
            </a:r>
          </a:p>
          <a:p>
            <a:r>
              <a:rPr lang="ru-RU" dirty="0"/>
              <a:t>более традиционные факторы риска, включая гипертонию,</a:t>
            </a:r>
          </a:p>
          <a:p>
            <a:r>
              <a:rPr lang="ru-RU" dirty="0"/>
              <a:t>дислипидемия (определяемая как низкая плотность</a:t>
            </a:r>
          </a:p>
          <a:p>
            <a:r>
              <a:rPr lang="ru-RU" dirty="0"/>
              <a:t>уровень холестерина липопротеина&gt; 130 мг на децилитр</a:t>
            </a:r>
          </a:p>
          <a:p>
            <a:r>
              <a:rPr lang="ru-RU" dirty="0"/>
              <a:t>[3,36 ммоль / л] или использование липидов</a:t>
            </a:r>
          </a:p>
          <a:p>
            <a:r>
              <a:rPr lang="ru-RU" dirty="0"/>
              <a:t>терапия) или употребление табака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BF33F9-3114-4D03-81D2-643724AFC06A}" type="slidenum">
              <a:rPr lang="ru-RU" smtClean="0"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41607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BF33F9-3114-4D03-81D2-643724AFC06A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39125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2BF33F9-3114-4D03-81D2-643724AFC06A}" type="slidenum">
              <a:rPr lang="ru-RU" smtClean="0"/>
              <a:t>4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76861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57153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219298"/>
            <a:ext cx="9144000" cy="1606735"/>
          </a:xfrm>
        </p:spPr>
        <p:txBody>
          <a:bodyPr anchor="b"/>
          <a:lstStyle>
            <a:lvl1pPr algn="l">
              <a:defRPr sz="4772">
                <a:latin typeface="DINPro-Medium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/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7137" y="6244082"/>
            <a:ext cx="9971568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9" name="Rectangle 8"/>
          <p:cNvSpPr/>
          <p:nvPr/>
        </p:nvSpPr>
        <p:spPr>
          <a:xfrm>
            <a:off x="3" y="4487919"/>
            <a:ext cx="12192002" cy="2370083"/>
          </a:xfrm>
          <a:prstGeom prst="rect">
            <a:avLst/>
          </a:prstGeom>
          <a:solidFill>
            <a:srgbClr val="005D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32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" y="0"/>
            <a:ext cx="12192002" cy="13074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979" y="151002"/>
            <a:ext cx="3296532" cy="1252682"/>
          </a:xfrm>
          <a:prstGeom prst="rect">
            <a:avLst/>
          </a:prstGeom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3255" y="4770881"/>
            <a:ext cx="8951495" cy="1655762"/>
          </a:xfrm>
        </p:spPr>
        <p:txBody>
          <a:bodyPr/>
          <a:lstStyle>
            <a:lvl1pPr marL="0" indent="0" algn="l">
              <a:buNone/>
              <a:defRPr sz="1909">
                <a:solidFill>
                  <a:schemeClr val="bg1"/>
                </a:solidFill>
                <a:latin typeface="DINPro-Medium" panose="02000503030000020004" pitchFamily="50" charset="0"/>
              </a:defRPr>
            </a:lvl1pPr>
            <a:lvl2pPr marL="363636" indent="0" algn="ctr">
              <a:buNone/>
              <a:defRPr sz="1591"/>
            </a:lvl2pPr>
            <a:lvl3pPr marL="727272" indent="0" algn="ctr">
              <a:buNone/>
              <a:defRPr sz="1432"/>
            </a:lvl3pPr>
            <a:lvl4pPr marL="1090908" indent="0" algn="ctr">
              <a:buNone/>
              <a:defRPr sz="1272"/>
            </a:lvl4pPr>
            <a:lvl5pPr marL="1454543" indent="0" algn="ctr">
              <a:buNone/>
              <a:defRPr sz="1272"/>
            </a:lvl5pPr>
            <a:lvl6pPr marL="1818180" indent="0" algn="ctr">
              <a:buNone/>
              <a:defRPr sz="1272"/>
            </a:lvl6pPr>
            <a:lvl7pPr marL="2181816" indent="0" algn="ctr">
              <a:buNone/>
              <a:defRPr sz="1272"/>
            </a:lvl7pPr>
            <a:lvl8pPr marL="2545452" indent="0" algn="ctr">
              <a:buNone/>
              <a:defRPr sz="1272"/>
            </a:lvl8pPr>
            <a:lvl9pPr marL="2909088" indent="0" algn="ctr">
              <a:buNone/>
              <a:defRPr sz="1272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3235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992">
          <p15:clr>
            <a:srgbClr val="A4A3A4"/>
          </p15:clr>
        </p15:guide>
        <p15:guide id="3" pos="6144">
          <p15:clr>
            <a:srgbClr val="A4A3A4"/>
          </p15:clr>
        </p15:guide>
        <p15:guide id="4" pos="7296">
          <p15:clr>
            <a:srgbClr val="A4A3A4"/>
          </p15:clr>
        </p15:guide>
        <p15:guide id="5" pos="2688">
          <p15:clr>
            <a:srgbClr val="A4A3A4"/>
          </p15:clr>
        </p15:guide>
        <p15:guide id="6" pos="1536">
          <p15:clr>
            <a:srgbClr val="A4A3A4"/>
          </p15:clr>
        </p15:guide>
        <p15:guide id="7" pos="384">
          <p15:clr>
            <a:srgbClr val="A4A3A4"/>
          </p15:clr>
        </p15:guide>
        <p15:guide id="8" pos="3840">
          <p15:clr>
            <a:srgbClr val="FBAE40"/>
          </p15:clr>
        </p15:guide>
        <p15:guide id="9" orient="horz" pos="1008">
          <p15:clr>
            <a:srgbClr val="A4A3A4"/>
          </p15:clr>
        </p15:guide>
        <p15:guide id="10" orient="horz" pos="2160">
          <p15:clr>
            <a:srgbClr val="A4A3A4"/>
          </p15:clr>
        </p15:guide>
        <p15:guide id="12" orient="horz" pos="3312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6451"/>
            <a:ext cx="9687035" cy="727718"/>
          </a:xfrm>
        </p:spPr>
        <p:txBody>
          <a:bodyPr anchor="b"/>
          <a:lstStyle>
            <a:lvl1pPr>
              <a:defRPr sz="2545">
                <a:latin typeface="DINPro-Medium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1" cy="4873625"/>
          </a:xfrm>
        </p:spPr>
        <p:txBody>
          <a:bodyPr/>
          <a:lstStyle>
            <a:lvl1pPr>
              <a:defRPr sz="2545">
                <a:latin typeface="DINPro-Medium" panose="02000503030000020004" pitchFamily="50" charset="0"/>
              </a:defRPr>
            </a:lvl1pPr>
            <a:lvl2pPr>
              <a:defRPr sz="2227">
                <a:latin typeface="DINPro-Medium" panose="02000503030000020004" pitchFamily="50" charset="0"/>
              </a:defRPr>
            </a:lvl2pPr>
            <a:lvl3pPr>
              <a:defRPr sz="1909">
                <a:latin typeface="DINPro-Medium" panose="02000503030000020004" pitchFamily="50" charset="0"/>
              </a:defRPr>
            </a:lvl3pPr>
            <a:lvl4pPr>
              <a:defRPr sz="1591">
                <a:latin typeface="DINPro-Medium" panose="02000503030000020004" pitchFamily="50" charset="0"/>
              </a:defRPr>
            </a:lvl4pPr>
            <a:lvl5pPr>
              <a:defRPr sz="1591">
                <a:latin typeface="DINPro-Medium" panose="02000503030000020004" pitchFamily="50" charset="0"/>
              </a:defRPr>
            </a:lvl5pPr>
            <a:lvl6pPr>
              <a:defRPr sz="1591"/>
            </a:lvl6pPr>
            <a:lvl7pPr>
              <a:defRPr sz="1591"/>
            </a:lvl7pPr>
            <a:lvl8pPr>
              <a:defRPr sz="1591"/>
            </a:lvl8pPr>
            <a:lvl9pPr>
              <a:defRPr sz="1591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1"/>
            <a:ext cx="3932238" cy="3811588"/>
          </a:xfrm>
        </p:spPr>
        <p:txBody>
          <a:bodyPr/>
          <a:lstStyle>
            <a:lvl1pPr marL="0" indent="0">
              <a:buNone/>
              <a:defRPr sz="1272">
                <a:latin typeface="DINPro-Medium" panose="02000503030000020004" pitchFamily="50" charset="0"/>
              </a:defRPr>
            </a:lvl1pPr>
            <a:lvl2pPr marL="363636" indent="0">
              <a:buNone/>
              <a:defRPr sz="1114"/>
            </a:lvl2pPr>
            <a:lvl3pPr marL="727272" indent="0">
              <a:buNone/>
              <a:defRPr sz="955"/>
            </a:lvl3pPr>
            <a:lvl4pPr marL="1090908" indent="0">
              <a:buNone/>
              <a:defRPr sz="795"/>
            </a:lvl4pPr>
            <a:lvl5pPr marL="1454543" indent="0">
              <a:buNone/>
              <a:defRPr sz="795"/>
            </a:lvl5pPr>
            <a:lvl6pPr marL="1818180" indent="0">
              <a:buNone/>
              <a:defRPr sz="795"/>
            </a:lvl6pPr>
            <a:lvl7pPr marL="2181816" indent="0">
              <a:buNone/>
              <a:defRPr sz="795"/>
            </a:lvl7pPr>
            <a:lvl8pPr marL="2545452" indent="0">
              <a:buNone/>
              <a:defRPr sz="795"/>
            </a:lvl8pPr>
            <a:lvl9pPr marL="2909088" indent="0">
              <a:buNone/>
              <a:defRPr sz="79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7137" y="6244082"/>
            <a:ext cx="997156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8" name="Group 7"/>
          <p:cNvGrpSpPr/>
          <p:nvPr/>
        </p:nvGrpSpPr>
        <p:grpSpPr>
          <a:xfrm>
            <a:off x="5" y="914404"/>
            <a:ext cx="12191998" cy="31218"/>
            <a:chOff x="0" y="914404"/>
            <a:chExt cx="12191999" cy="31218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>
          <a:xfrm>
            <a:off x="894573" y="1014244"/>
            <a:ext cx="3877454" cy="912097"/>
          </a:xfrm>
        </p:spPr>
        <p:txBody>
          <a:bodyPr anchor="ctr">
            <a:normAutofit/>
          </a:bodyPr>
          <a:lstStyle>
            <a:lvl1pPr marL="0" indent="0">
              <a:buNone/>
              <a:defRPr sz="2539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39789" y="1974234"/>
            <a:ext cx="3932238" cy="41458"/>
            <a:chOff x="0" y="914404"/>
            <a:chExt cx="12191999" cy="31218"/>
          </a:xfrm>
        </p:grpSpPr>
        <p:cxnSp>
          <p:nvCxnSpPr>
            <p:cNvPr id="16" name="Straight Connector 15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93604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2545">
                <a:latin typeface="DINPro-Medium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1" cy="4873625"/>
          </a:xfrm>
        </p:spPr>
        <p:txBody>
          <a:bodyPr/>
          <a:lstStyle>
            <a:lvl1pPr marL="0" indent="0">
              <a:buNone/>
              <a:defRPr sz="2545">
                <a:latin typeface="DINPro-Medium" panose="02000503030000020004" pitchFamily="50" charset="0"/>
              </a:defRPr>
            </a:lvl1pPr>
            <a:lvl2pPr marL="363636" indent="0">
              <a:buNone/>
              <a:defRPr sz="2227"/>
            </a:lvl2pPr>
            <a:lvl3pPr marL="727272" indent="0">
              <a:buNone/>
              <a:defRPr sz="1909"/>
            </a:lvl3pPr>
            <a:lvl4pPr marL="1090908" indent="0">
              <a:buNone/>
              <a:defRPr sz="1591"/>
            </a:lvl4pPr>
            <a:lvl5pPr marL="1454543" indent="0">
              <a:buNone/>
              <a:defRPr sz="1591"/>
            </a:lvl5pPr>
            <a:lvl6pPr marL="1818180" indent="0">
              <a:buNone/>
              <a:defRPr sz="1591"/>
            </a:lvl6pPr>
            <a:lvl7pPr marL="2181816" indent="0">
              <a:buNone/>
              <a:defRPr sz="1591"/>
            </a:lvl7pPr>
            <a:lvl8pPr marL="2545452" indent="0">
              <a:buNone/>
              <a:defRPr sz="1591"/>
            </a:lvl8pPr>
            <a:lvl9pPr marL="2909088" indent="0">
              <a:buNone/>
              <a:defRPr sz="1591"/>
            </a:lvl9pPr>
          </a:lstStyle>
          <a:p>
            <a:r>
              <a:rPr lang="en-US"/>
              <a:t>Click icon to add picture</a:t>
            </a:r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1"/>
            <a:ext cx="3932238" cy="3811588"/>
          </a:xfrm>
        </p:spPr>
        <p:txBody>
          <a:bodyPr/>
          <a:lstStyle>
            <a:lvl1pPr marL="0" indent="0">
              <a:buNone/>
              <a:defRPr sz="1272">
                <a:latin typeface="DINPro-Medium" panose="02000503030000020004" pitchFamily="50" charset="0"/>
              </a:defRPr>
            </a:lvl1pPr>
            <a:lvl2pPr marL="363636" indent="0">
              <a:buNone/>
              <a:defRPr sz="1114"/>
            </a:lvl2pPr>
            <a:lvl3pPr marL="727272" indent="0">
              <a:buNone/>
              <a:defRPr sz="955"/>
            </a:lvl3pPr>
            <a:lvl4pPr marL="1090908" indent="0">
              <a:buNone/>
              <a:defRPr sz="795"/>
            </a:lvl4pPr>
            <a:lvl5pPr marL="1454543" indent="0">
              <a:buNone/>
              <a:defRPr sz="795"/>
            </a:lvl5pPr>
            <a:lvl6pPr marL="1818180" indent="0">
              <a:buNone/>
              <a:defRPr sz="795"/>
            </a:lvl6pPr>
            <a:lvl7pPr marL="2181816" indent="0">
              <a:buNone/>
              <a:defRPr sz="795"/>
            </a:lvl7pPr>
            <a:lvl8pPr marL="2545452" indent="0">
              <a:buNone/>
              <a:defRPr sz="795"/>
            </a:lvl8pPr>
            <a:lvl9pPr marL="2909088" indent="0">
              <a:buNone/>
              <a:defRPr sz="79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7137" y="6244082"/>
            <a:ext cx="997156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94803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901" y="65472"/>
            <a:ext cx="10001988" cy="775507"/>
          </a:xfrm>
        </p:spPr>
        <p:txBody>
          <a:bodyPr>
            <a:normAutofit/>
          </a:bodyPr>
          <a:lstStyle>
            <a:lvl1pPr>
              <a:defRPr sz="2539">
                <a:latin typeface="DINPro-Medium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DINPro-Medium" panose="02000503030000020004" pitchFamily="50" charset="0"/>
              </a:defRPr>
            </a:lvl1pPr>
            <a:lvl2pPr>
              <a:defRPr>
                <a:latin typeface="DINPro-Medium" panose="02000503030000020004" pitchFamily="50" charset="0"/>
              </a:defRPr>
            </a:lvl2pPr>
            <a:lvl3pPr>
              <a:defRPr>
                <a:latin typeface="DINPro-Medium" panose="02000503030000020004" pitchFamily="50" charset="0"/>
              </a:defRPr>
            </a:lvl3pPr>
            <a:lvl4pPr>
              <a:defRPr>
                <a:latin typeface="DINPro-Medium" panose="02000503030000020004" pitchFamily="50" charset="0"/>
              </a:defRPr>
            </a:lvl4pPr>
            <a:lvl5pPr>
              <a:defRPr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7137" y="6244082"/>
            <a:ext cx="997156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7" name="Group 6"/>
          <p:cNvGrpSpPr/>
          <p:nvPr/>
        </p:nvGrpSpPr>
        <p:grpSpPr>
          <a:xfrm>
            <a:off x="5" y="914404"/>
            <a:ext cx="12191998" cy="31218"/>
            <a:chOff x="0" y="914404"/>
            <a:chExt cx="12191999" cy="31218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2852994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899" y="365125"/>
            <a:ext cx="2628900" cy="5811838"/>
          </a:xfrm>
        </p:spPr>
        <p:txBody>
          <a:bodyPr vert="eaVert"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199" y="365125"/>
            <a:ext cx="7734300" cy="5811838"/>
          </a:xfrm>
        </p:spPr>
        <p:txBody>
          <a:bodyPr vert="eaVert"/>
          <a:lstStyle>
            <a:lvl1pPr>
              <a:defRPr>
                <a:latin typeface="DINPro-Medium" panose="02000503030000020004" pitchFamily="50" charset="0"/>
              </a:defRPr>
            </a:lvl1pPr>
            <a:lvl2pPr>
              <a:defRPr>
                <a:latin typeface="DINPro-Medium" panose="02000503030000020004" pitchFamily="50" charset="0"/>
              </a:defRPr>
            </a:lvl2pPr>
            <a:lvl3pPr>
              <a:defRPr>
                <a:latin typeface="DINPro-Medium" panose="02000503030000020004" pitchFamily="50" charset="0"/>
              </a:defRPr>
            </a:lvl3pPr>
            <a:lvl4pPr>
              <a:defRPr>
                <a:latin typeface="DINPro-Medium" panose="02000503030000020004" pitchFamily="50" charset="0"/>
              </a:defRPr>
            </a:lvl4pPr>
            <a:lvl5pPr>
              <a:defRPr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7137" y="6244082"/>
            <a:ext cx="997156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7" name="Group 6"/>
          <p:cNvGrpSpPr/>
          <p:nvPr/>
        </p:nvGrpSpPr>
        <p:grpSpPr>
          <a:xfrm>
            <a:off x="5" y="914404"/>
            <a:ext cx="12191998" cy="31218"/>
            <a:chOff x="0" y="914404"/>
            <a:chExt cx="12191999" cy="31218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380027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1" y="1"/>
            <a:ext cx="9699301" cy="883186"/>
          </a:xfrm>
        </p:spPr>
        <p:txBody>
          <a:bodyPr>
            <a:normAutofit/>
          </a:bodyPr>
          <a:lstStyle>
            <a:lvl1pPr>
              <a:defRPr sz="253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14400" y="1981200"/>
            <a:ext cx="10363200" cy="4114800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86884" y="6367463"/>
            <a:ext cx="2540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38085" y="6367463"/>
            <a:ext cx="38608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10084" y="6367463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" y="914404"/>
            <a:ext cx="12191998" cy="31218"/>
            <a:chOff x="0" y="914404"/>
            <a:chExt cx="12191999" cy="31218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3405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Заголовок, текст и кл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4401" y="14055"/>
            <a:ext cx="9699301" cy="869132"/>
          </a:xfrm>
        </p:spPr>
        <p:txBody>
          <a:bodyPr>
            <a:normAutofit/>
          </a:bodyPr>
          <a:lstStyle>
            <a:lvl1pPr>
              <a:defRPr sz="253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Клип 3"/>
          <p:cNvSpPr>
            <a:spLocks noGrp="1"/>
          </p:cNvSpPr>
          <p:nvPr>
            <p:ph type="clipArt" sz="half" idx="2"/>
          </p:nvPr>
        </p:nvSpPr>
        <p:spPr>
          <a:xfrm>
            <a:off x="6197602" y="1981200"/>
            <a:ext cx="5080000" cy="4114800"/>
          </a:xfrm>
        </p:spPr>
        <p:txBody>
          <a:bodyPr/>
          <a:lstStyle/>
          <a:p>
            <a:r>
              <a:rPr lang="en-US"/>
              <a:t>Click icon to add online image</a:t>
            </a:r>
            <a:endParaRPr lang="en-US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4165602" y="6248400"/>
            <a:ext cx="386080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</p:spPr>
        <p:txBody>
          <a:bodyPr/>
          <a:lstStyle>
            <a:lvl1pPr>
              <a:defRPr/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5" y="914404"/>
            <a:ext cx="12191998" cy="31218"/>
            <a:chOff x="0" y="914404"/>
            <a:chExt cx="12191999" cy="31218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1856626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2832" y="5935205"/>
            <a:ext cx="997156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/>
          </a:p>
        </p:txBody>
      </p:sp>
      <p:grpSp>
        <p:nvGrpSpPr>
          <p:cNvPr id="5" name="Group 4"/>
          <p:cNvGrpSpPr/>
          <p:nvPr/>
        </p:nvGrpSpPr>
        <p:grpSpPr>
          <a:xfrm>
            <a:off x="2" y="914404"/>
            <a:ext cx="12191999" cy="31218"/>
            <a:chOff x="0" y="914404"/>
            <a:chExt cx="12191999" cy="31218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646161" y="6469322"/>
            <a:ext cx="9488238" cy="207295"/>
          </a:xfrm>
        </p:spPr>
        <p:txBody>
          <a:bodyPr>
            <a:normAutofit/>
          </a:bodyPr>
          <a:lstStyle>
            <a:lvl1pPr marL="0" marR="0" indent="0" algn="l" defTabSz="727272" rtl="0" eaLnBrk="1" fontAlgn="auto" latinLnBrk="0" hangingPunct="1">
              <a:lnSpc>
                <a:spcPct val="90000"/>
              </a:lnSpc>
              <a:spcBef>
                <a:spcPts val="795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88"/>
            </a:lvl1pPr>
          </a:lstStyle>
          <a:p>
            <a:pPr marL="414589" marR="0" lvl="0" indent="-414589" algn="l" defTabSz="727272" rtl="0" eaLnBrk="1" fontAlgn="auto" latinLnBrk="0" hangingPunct="1">
              <a:lnSpc>
                <a:spcPct val="90000"/>
              </a:lnSpc>
              <a:spcBef>
                <a:spcPts val="795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19762124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162832" y="5935205"/>
            <a:ext cx="997156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/>
          </a:p>
        </p:txBody>
      </p:sp>
      <p:grpSp>
        <p:nvGrpSpPr>
          <p:cNvPr id="5" name="Group 4"/>
          <p:cNvGrpSpPr/>
          <p:nvPr/>
        </p:nvGrpSpPr>
        <p:grpSpPr>
          <a:xfrm>
            <a:off x="2" y="914404"/>
            <a:ext cx="12191999" cy="31218"/>
            <a:chOff x="0" y="914404"/>
            <a:chExt cx="12191999" cy="31218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646161" y="6469322"/>
            <a:ext cx="9488238" cy="207295"/>
          </a:xfrm>
        </p:spPr>
        <p:txBody>
          <a:bodyPr>
            <a:normAutofit/>
          </a:bodyPr>
          <a:lstStyle>
            <a:lvl1pPr marL="0" marR="0" indent="0" algn="l" defTabSz="727272" rtl="0" eaLnBrk="1" fontAlgn="auto" latinLnBrk="0" hangingPunct="1">
              <a:lnSpc>
                <a:spcPct val="90000"/>
              </a:lnSpc>
              <a:spcBef>
                <a:spcPts val="795"/>
              </a:spcBef>
              <a:spcAft>
                <a:spcPts val="0"/>
              </a:spcAft>
              <a:buClrTx/>
              <a:buSzTx/>
              <a:buFontTx/>
              <a:buNone/>
              <a:tabLst/>
              <a:defRPr sz="1088"/>
            </a:lvl1pPr>
          </a:lstStyle>
          <a:p>
            <a:pPr marL="414589" marR="0" lvl="0" indent="-414589" algn="l" defTabSz="727272" rtl="0" eaLnBrk="1" fontAlgn="auto" latinLnBrk="0" hangingPunct="1">
              <a:lnSpc>
                <a:spcPct val="90000"/>
              </a:lnSpc>
              <a:spcBef>
                <a:spcPts val="795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References</a:t>
            </a:r>
          </a:p>
        </p:txBody>
      </p:sp>
    </p:spTree>
    <p:extLst>
      <p:ext uri="{BB962C8B-B14F-4D97-AF65-F5344CB8AC3E}">
        <p14:creationId xmlns:p14="http://schemas.microsoft.com/office/powerpoint/2010/main" val="14244421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17241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452C562-A996-4ACD-B358-C6D309749351}"/>
              </a:ext>
            </a:extLst>
          </p:cNvPr>
          <p:cNvSpPr/>
          <p:nvPr userDrawn="1"/>
        </p:nvSpPr>
        <p:spPr>
          <a:xfrm>
            <a:off x="0" y="6270255"/>
            <a:ext cx="12211410" cy="5877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32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6751" y="1451563"/>
            <a:ext cx="10972800" cy="4553710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57837" y="6595032"/>
            <a:ext cx="434164" cy="234315"/>
          </a:xfrm>
        </p:spPr>
        <p:txBody>
          <a:bodyPr/>
          <a:lstStyle>
            <a:lvl1pPr>
              <a:defRPr sz="788">
                <a:solidFill>
                  <a:schemeClr val="tx1"/>
                </a:solidFill>
              </a:defRPr>
            </a:lvl1pPr>
          </a:lstStyle>
          <a:p>
            <a:fld id="{5F3F9096-8ED8-4F14-8F69-892A89853C22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0" name="Group 9"/>
          <p:cNvGrpSpPr/>
          <p:nvPr/>
        </p:nvGrpSpPr>
        <p:grpSpPr>
          <a:xfrm>
            <a:off x="3" y="765331"/>
            <a:ext cx="12191999" cy="31218"/>
            <a:chOff x="0" y="914404"/>
            <a:chExt cx="12191999" cy="31218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09601" y="6241574"/>
            <a:ext cx="6400800" cy="4921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521273" y="-10177"/>
            <a:ext cx="10040670" cy="775507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845478" y="180110"/>
            <a:ext cx="1231656" cy="534857"/>
            <a:chOff x="10554952" y="44534"/>
            <a:chExt cx="1543126" cy="681570"/>
          </a:xfrm>
        </p:grpSpPr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37068" y="44534"/>
              <a:ext cx="1161010" cy="441184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 userDrawn="1"/>
          </p:nvSpPr>
          <p:spPr>
            <a:xfrm>
              <a:off x="10554952" y="485718"/>
              <a:ext cx="1479375" cy="2403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626" dirty="0">
                  <a:solidFill>
                    <a:srgbClr val="005DA4"/>
                  </a:solidFill>
                </a:rPr>
                <a:t>http://mdwrt.com</a:t>
              </a:r>
              <a:endParaRPr lang="ru-RU" sz="626" dirty="0">
                <a:solidFill>
                  <a:srgbClr val="005DA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99426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82">
          <p15:clr>
            <a:srgbClr val="A4A3A4"/>
          </p15:clr>
        </p15:guide>
        <p15:guide id="6" orient="horz" pos="4350">
          <p15:clr>
            <a:srgbClr val="A4A3A4"/>
          </p15:clr>
        </p15:guide>
        <p15:guide id="8" pos="3368">
          <p15:clr>
            <a:srgbClr val="A4A3A4"/>
          </p15:clr>
        </p15:guide>
        <p15:guide id="11" pos="5096">
          <p15:clr>
            <a:srgbClr val="A4A3A4"/>
          </p15:clr>
        </p15:guide>
        <p15:guide id="13" pos="6392">
          <p15:clr>
            <a:srgbClr val="A4A3A4"/>
          </p15:clr>
        </p15:guide>
        <p15:guide id="20" orient="horz" pos="1008">
          <p15:clr>
            <a:srgbClr val="A4A3A4"/>
          </p15:clr>
        </p15:guide>
        <p15:guide id="24" pos="1928">
          <p15:clr>
            <a:srgbClr val="A4A3A4"/>
          </p15:clr>
        </p15:guide>
        <p15:guide id="25" pos="288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0"/>
            <a:ext cx="10972800" cy="4553710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57836" y="6595030"/>
            <a:ext cx="434164" cy="234315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5F3F9096-8ED8-4F14-8F69-892A89853C22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0" name="Group 9"/>
          <p:cNvGrpSpPr/>
          <p:nvPr/>
        </p:nvGrpSpPr>
        <p:grpSpPr>
          <a:xfrm>
            <a:off x="1" y="765330"/>
            <a:ext cx="12191998" cy="31218"/>
            <a:chOff x="0" y="914404"/>
            <a:chExt cx="12191999" cy="31218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09600" y="6241572"/>
            <a:ext cx="6400800" cy="4921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596554" y="5432"/>
            <a:ext cx="10040669" cy="775507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495005" y="44535"/>
            <a:ext cx="1582126" cy="662014"/>
            <a:chOff x="10554952" y="44534"/>
            <a:chExt cx="1543126" cy="662014"/>
          </a:xfrm>
        </p:grpSpPr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37068" y="44534"/>
              <a:ext cx="1161010" cy="441184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 userDrawn="1"/>
          </p:nvSpPr>
          <p:spPr>
            <a:xfrm>
              <a:off x="10554952" y="485718"/>
              <a:ext cx="1479375" cy="220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35" dirty="0">
                  <a:solidFill>
                    <a:srgbClr val="005DA4"/>
                  </a:solidFill>
                </a:rPr>
                <a:t>http://mdwrt.com</a:t>
              </a:r>
              <a:endParaRPr lang="ru-RU" sz="835" dirty="0">
                <a:solidFill>
                  <a:srgbClr val="005DA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2619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2736">
          <p15:clr>
            <a:srgbClr val="A4A3A4"/>
          </p15:clr>
        </p15:guide>
        <p15:guide id="3" orient="horz" pos="3312">
          <p15:clr>
            <a:srgbClr val="A4A3A4"/>
          </p15:clr>
        </p15:guide>
        <p15:guide id="4" orient="horz" pos="1584">
          <p15:clr>
            <a:srgbClr val="A4A3A4"/>
          </p15:clr>
        </p15:guide>
        <p15:guide id="6" orient="horz" pos="3888">
          <p15:clr>
            <a:srgbClr val="A4A3A4"/>
          </p15:clr>
        </p15:guide>
        <p15:guide id="8" pos="4416">
          <p15:clr>
            <a:srgbClr val="A4A3A4"/>
          </p15:clr>
        </p15:guide>
        <p15:guide id="9" pos="4992">
          <p15:clr>
            <a:srgbClr val="A4A3A4"/>
          </p15:clr>
        </p15:guide>
        <p15:guide id="10" pos="5568">
          <p15:clr>
            <a:srgbClr val="A4A3A4"/>
          </p15:clr>
        </p15:guide>
        <p15:guide id="11" pos="6144">
          <p15:clr>
            <a:srgbClr val="A4A3A4"/>
          </p15:clr>
        </p15:guide>
        <p15:guide id="12" pos="6720">
          <p15:clr>
            <a:srgbClr val="A4A3A4"/>
          </p15:clr>
        </p15:guide>
        <p15:guide id="13" pos="7296">
          <p15:clr>
            <a:srgbClr val="A4A3A4"/>
          </p15:clr>
        </p15:guide>
        <p15:guide id="14" pos="3840">
          <p15:clr>
            <a:srgbClr val="A4A3A4"/>
          </p15:clr>
        </p15:guide>
        <p15:guide id="15" pos="3264">
          <p15:clr>
            <a:srgbClr val="A4A3A4"/>
          </p15:clr>
        </p15:guide>
        <p15:guide id="16" pos="2688">
          <p15:clr>
            <a:srgbClr val="A4A3A4"/>
          </p15:clr>
        </p15:guide>
        <p15:guide id="17" pos="2112">
          <p15:clr>
            <a:srgbClr val="A4A3A4"/>
          </p15:clr>
        </p15:guide>
        <p15:guide id="20" orient="horz" pos="1008" userDrawn="1">
          <p15:clr>
            <a:srgbClr val="A4A3A4"/>
          </p15:clr>
        </p15:guide>
        <p15:guide id="24" pos="1536" userDrawn="1">
          <p15:clr>
            <a:srgbClr val="A4A3A4"/>
          </p15:clr>
        </p15:guide>
        <p15:guide id="25" pos="384" userDrawn="1">
          <p15:clr>
            <a:srgbClr val="A4A3A4"/>
          </p15:clr>
        </p15:guide>
        <p15:guide id="26" pos="960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изайн исследова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0"/>
            <a:ext cx="4572000" cy="4553710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57836" y="6595030"/>
            <a:ext cx="434164" cy="234315"/>
          </a:xfrm>
        </p:spPr>
        <p:txBody>
          <a:bodyPr/>
          <a:lstStyle>
            <a:lvl1pPr>
              <a:defRPr sz="1050">
                <a:solidFill>
                  <a:schemeClr val="bg1"/>
                </a:solidFill>
              </a:defRPr>
            </a:lvl1pPr>
          </a:lstStyle>
          <a:p>
            <a:fld id="{5F3F9096-8ED8-4F14-8F69-892A89853C22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0" name="Group 9"/>
          <p:cNvGrpSpPr/>
          <p:nvPr/>
        </p:nvGrpSpPr>
        <p:grpSpPr>
          <a:xfrm>
            <a:off x="1" y="765330"/>
            <a:ext cx="12191998" cy="31218"/>
            <a:chOff x="0" y="914404"/>
            <a:chExt cx="12191999" cy="31218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609600" y="6241572"/>
            <a:ext cx="6400800" cy="4921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596554" y="5432"/>
            <a:ext cx="10040669" cy="775507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10495005" y="44535"/>
            <a:ext cx="1582126" cy="662014"/>
            <a:chOff x="10554952" y="44534"/>
            <a:chExt cx="1543126" cy="662014"/>
          </a:xfrm>
        </p:grpSpPr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37068" y="44534"/>
              <a:ext cx="1161010" cy="441184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 userDrawn="1"/>
          </p:nvSpPr>
          <p:spPr>
            <a:xfrm>
              <a:off x="10554952" y="485718"/>
              <a:ext cx="1479375" cy="220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35" dirty="0">
                  <a:solidFill>
                    <a:srgbClr val="005DA4"/>
                  </a:solidFill>
                </a:rPr>
                <a:t>http://mdwrt.com</a:t>
              </a:r>
              <a:endParaRPr lang="ru-RU" sz="835" dirty="0">
                <a:solidFill>
                  <a:srgbClr val="005DA4"/>
                </a:solidFill>
              </a:endParaRPr>
            </a:p>
          </p:txBody>
        </p:sp>
      </p:grp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010400" y="1609343"/>
            <a:ext cx="4572000" cy="339502"/>
          </a:xfrm>
          <a:ln w="25400"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5"/>
          </p:nvPr>
        </p:nvSpPr>
        <p:spPr>
          <a:xfrm rot="16200000">
            <a:off x="-1902379" y="3654978"/>
            <a:ext cx="4553712" cy="444154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596554" y="1600200"/>
            <a:ext cx="13046" cy="4572000"/>
          </a:xfrm>
          <a:prstGeom prst="line">
            <a:avLst/>
          </a:prstGeom>
          <a:ln w="254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6069909" y="1600200"/>
            <a:ext cx="13046" cy="4572000"/>
          </a:xfrm>
          <a:prstGeom prst="line">
            <a:avLst/>
          </a:prstGeom>
          <a:ln w="25400"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ontent Placeholder 2"/>
          <p:cNvSpPr>
            <a:spLocks noGrp="1"/>
          </p:cNvSpPr>
          <p:nvPr>
            <p:ph idx="16"/>
          </p:nvPr>
        </p:nvSpPr>
        <p:spPr>
          <a:xfrm rot="16200000">
            <a:off x="3562504" y="3659550"/>
            <a:ext cx="4544566" cy="444154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7041178" y="3096536"/>
            <a:ext cx="1828800" cy="339502"/>
          </a:xfrm>
          <a:ln w="25400"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9784377" y="3096536"/>
            <a:ext cx="1798023" cy="339502"/>
          </a:xfrm>
          <a:ln w="25400"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382000" y="2344849"/>
            <a:ext cx="1828800" cy="339502"/>
          </a:xfrm>
          <a:ln w="25400"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20"/>
          </p:nvPr>
        </p:nvSpPr>
        <p:spPr>
          <a:xfrm>
            <a:off x="7055032" y="3662291"/>
            <a:ext cx="1828800" cy="339502"/>
          </a:xfr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21"/>
          </p:nvPr>
        </p:nvSpPr>
        <p:spPr>
          <a:xfrm>
            <a:off x="9798231" y="3662291"/>
            <a:ext cx="1798023" cy="339502"/>
          </a:xfr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22"/>
          </p:nvPr>
        </p:nvSpPr>
        <p:spPr>
          <a:xfrm>
            <a:off x="7010400" y="5812070"/>
            <a:ext cx="4572000" cy="339502"/>
          </a:xfrm>
          <a:ln w="25400">
            <a:solidFill>
              <a:schemeClr val="accent1"/>
            </a:solidFill>
          </a:ln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3381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2736">
          <p15:clr>
            <a:srgbClr val="A4A3A4"/>
          </p15:clr>
        </p15:guide>
        <p15:guide id="3" orient="horz" pos="3312">
          <p15:clr>
            <a:srgbClr val="A4A3A4"/>
          </p15:clr>
        </p15:guide>
        <p15:guide id="4" orient="horz" pos="1584">
          <p15:clr>
            <a:srgbClr val="A4A3A4"/>
          </p15:clr>
        </p15:guide>
        <p15:guide id="6" orient="horz" pos="3888">
          <p15:clr>
            <a:srgbClr val="A4A3A4"/>
          </p15:clr>
        </p15:guide>
        <p15:guide id="8" pos="4416">
          <p15:clr>
            <a:srgbClr val="A4A3A4"/>
          </p15:clr>
        </p15:guide>
        <p15:guide id="9" pos="4992">
          <p15:clr>
            <a:srgbClr val="A4A3A4"/>
          </p15:clr>
        </p15:guide>
        <p15:guide id="10" pos="5568">
          <p15:clr>
            <a:srgbClr val="A4A3A4"/>
          </p15:clr>
        </p15:guide>
        <p15:guide id="11" pos="6144">
          <p15:clr>
            <a:srgbClr val="A4A3A4"/>
          </p15:clr>
        </p15:guide>
        <p15:guide id="12" pos="7296" userDrawn="1">
          <p15:clr>
            <a:srgbClr val="A4A3A4"/>
          </p15:clr>
        </p15:guide>
        <p15:guide id="14" pos="3840">
          <p15:clr>
            <a:srgbClr val="A4A3A4"/>
          </p15:clr>
        </p15:guide>
        <p15:guide id="15" pos="3264">
          <p15:clr>
            <a:srgbClr val="A4A3A4"/>
          </p15:clr>
        </p15:guide>
        <p15:guide id="16" pos="2688">
          <p15:clr>
            <a:srgbClr val="A4A3A4"/>
          </p15:clr>
        </p15:guide>
        <p15:guide id="17" pos="2112">
          <p15:clr>
            <a:srgbClr val="A4A3A4"/>
          </p15:clr>
        </p15:guide>
        <p15:guide id="20" orient="horz" pos="1008">
          <p15:clr>
            <a:srgbClr val="A4A3A4"/>
          </p15:clr>
        </p15:guide>
        <p15:guide id="24" pos="1536">
          <p15:clr>
            <a:srgbClr val="A4A3A4"/>
          </p15:clr>
        </p15:guide>
        <p15:guide id="25" pos="384">
          <p15:clr>
            <a:srgbClr val="A4A3A4"/>
          </p15:clr>
        </p15:guide>
        <p15:guide id="26" pos="960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2" cy="2852737"/>
          </a:xfrm>
        </p:spPr>
        <p:txBody>
          <a:bodyPr anchor="b"/>
          <a:lstStyle>
            <a:lvl1pPr>
              <a:defRPr sz="4772">
                <a:latin typeface="DINPro-Medium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2" cy="1500187"/>
          </a:xfrm>
        </p:spPr>
        <p:txBody>
          <a:bodyPr/>
          <a:lstStyle>
            <a:lvl1pPr marL="0" indent="0">
              <a:buNone/>
              <a:defRPr sz="1909">
                <a:solidFill>
                  <a:schemeClr val="tx1">
                    <a:tint val="75000"/>
                  </a:schemeClr>
                </a:solidFill>
                <a:latin typeface="DINPro-Medium" panose="02000503030000020004" pitchFamily="50" charset="0"/>
              </a:defRPr>
            </a:lvl1pPr>
            <a:lvl2pPr marL="363636" indent="0">
              <a:buNone/>
              <a:defRPr sz="1591">
                <a:solidFill>
                  <a:schemeClr val="tx1">
                    <a:tint val="75000"/>
                  </a:schemeClr>
                </a:solidFill>
              </a:defRPr>
            </a:lvl2pPr>
            <a:lvl3pPr marL="727272" indent="0">
              <a:buNone/>
              <a:defRPr sz="1432">
                <a:solidFill>
                  <a:schemeClr val="tx1">
                    <a:tint val="75000"/>
                  </a:schemeClr>
                </a:solidFill>
              </a:defRPr>
            </a:lvl3pPr>
            <a:lvl4pPr marL="1090908" indent="0">
              <a:buNone/>
              <a:defRPr sz="1272">
                <a:solidFill>
                  <a:schemeClr val="tx1">
                    <a:tint val="75000"/>
                  </a:schemeClr>
                </a:solidFill>
              </a:defRPr>
            </a:lvl4pPr>
            <a:lvl5pPr marL="1454543" indent="0">
              <a:buNone/>
              <a:defRPr sz="1272">
                <a:solidFill>
                  <a:schemeClr val="tx1">
                    <a:tint val="75000"/>
                  </a:schemeClr>
                </a:solidFill>
              </a:defRPr>
            </a:lvl5pPr>
            <a:lvl6pPr marL="1818180" indent="0">
              <a:buNone/>
              <a:defRPr sz="1272">
                <a:solidFill>
                  <a:schemeClr val="tx1">
                    <a:tint val="75000"/>
                  </a:schemeClr>
                </a:solidFill>
              </a:defRPr>
            </a:lvl6pPr>
            <a:lvl7pPr marL="2181816" indent="0">
              <a:buNone/>
              <a:defRPr sz="1272">
                <a:solidFill>
                  <a:schemeClr val="tx1">
                    <a:tint val="75000"/>
                  </a:schemeClr>
                </a:solidFill>
              </a:defRPr>
            </a:lvl7pPr>
            <a:lvl8pPr marL="2545452" indent="0">
              <a:buNone/>
              <a:defRPr sz="1272">
                <a:solidFill>
                  <a:schemeClr val="tx1">
                    <a:tint val="75000"/>
                  </a:schemeClr>
                </a:solidFill>
              </a:defRPr>
            </a:lvl8pPr>
            <a:lvl9pPr marL="2909088" indent="0">
              <a:buNone/>
              <a:defRPr sz="127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67137" y="6244082"/>
            <a:ext cx="997156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10165423" y="44535"/>
            <a:ext cx="1911710" cy="662014"/>
            <a:chOff x="10554952" y="44534"/>
            <a:chExt cx="1543126" cy="662014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37068" y="44534"/>
              <a:ext cx="1161010" cy="441184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 userDrawn="1"/>
          </p:nvSpPr>
          <p:spPr>
            <a:xfrm>
              <a:off x="10554952" y="485718"/>
              <a:ext cx="1479375" cy="220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35" dirty="0">
                  <a:solidFill>
                    <a:srgbClr val="005DA4"/>
                  </a:solidFill>
                </a:rPr>
                <a:t>http://mdwrt.com</a:t>
              </a:r>
              <a:endParaRPr lang="ru-RU" sz="835" dirty="0">
                <a:solidFill>
                  <a:srgbClr val="005DA4"/>
                </a:solidFill>
              </a:endParaRPr>
            </a:p>
          </p:txBody>
        </p:sp>
      </p:grpSp>
      <p:sp>
        <p:nvSpPr>
          <p:cNvPr id="7" name="Rectangle 6"/>
          <p:cNvSpPr/>
          <p:nvPr userDrawn="1"/>
        </p:nvSpPr>
        <p:spPr>
          <a:xfrm>
            <a:off x="0" y="1"/>
            <a:ext cx="12192000" cy="1323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34062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57836" y="6525663"/>
            <a:ext cx="434164" cy="365125"/>
          </a:xfr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10165423" y="44535"/>
            <a:ext cx="1911710" cy="662014"/>
            <a:chOff x="10554952" y="44534"/>
            <a:chExt cx="1543126" cy="662014"/>
          </a:xfrm>
        </p:grpSpPr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37068" y="44534"/>
              <a:ext cx="1161010" cy="441184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 userDrawn="1"/>
          </p:nvSpPr>
          <p:spPr>
            <a:xfrm>
              <a:off x="10554952" y="485718"/>
              <a:ext cx="1479375" cy="220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35" dirty="0">
                  <a:solidFill>
                    <a:srgbClr val="005DA4"/>
                  </a:solidFill>
                </a:rPr>
                <a:t>http://mdwrt.com</a:t>
              </a:r>
              <a:endParaRPr lang="ru-RU" sz="835" dirty="0">
                <a:solidFill>
                  <a:srgbClr val="005DA4"/>
                </a:solidFill>
              </a:endParaRPr>
            </a:p>
          </p:txBody>
        </p:sp>
      </p:grpSp>
      <p:sp>
        <p:nvSpPr>
          <p:cNvPr id="7" name="Rectangle 6"/>
          <p:cNvSpPr/>
          <p:nvPr userDrawn="1"/>
        </p:nvSpPr>
        <p:spPr>
          <a:xfrm>
            <a:off x="0" y="1"/>
            <a:ext cx="12192000" cy="1323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idx="14" hasCustomPrompt="1"/>
          </p:nvPr>
        </p:nvSpPr>
        <p:spPr>
          <a:xfrm rot="16200000">
            <a:off x="-2475811" y="2628414"/>
            <a:ext cx="6153909" cy="897082"/>
          </a:xfrm>
        </p:spPr>
        <p:txBody>
          <a:bodyPr>
            <a:normAutofit/>
          </a:bodyPr>
          <a:lstStyle>
            <a:lvl1pPr marL="0" indent="0" algn="ctr">
              <a:buNone/>
              <a:defRPr sz="3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1pPr>
            <a:lvl2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2pPr>
            <a:lvl3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3pPr>
            <a:lvl4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4pPr>
            <a:lvl5pPr>
              <a:defRPr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ru-RU" dirty="0"/>
          </a:p>
        </p:txBody>
      </p:sp>
      <p:grpSp>
        <p:nvGrpSpPr>
          <p:cNvPr id="14" name="Group 13"/>
          <p:cNvGrpSpPr/>
          <p:nvPr userDrawn="1"/>
        </p:nvGrpSpPr>
        <p:grpSpPr>
          <a:xfrm rot="16200000">
            <a:off x="-2356454" y="3406141"/>
            <a:ext cx="6857999" cy="45719"/>
            <a:chOff x="0" y="914404"/>
            <a:chExt cx="12191999" cy="31218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" y="6228307"/>
            <a:ext cx="996954" cy="369504"/>
          </a:xfrm>
          <a:prstGeom prst="rect">
            <a:avLst/>
          </a:prstGeom>
        </p:spPr>
      </p:pic>
      <p:sp>
        <p:nvSpPr>
          <p:cNvPr id="19" name="TextBox 18"/>
          <p:cNvSpPr txBox="1"/>
          <p:nvPr userDrawn="1"/>
        </p:nvSpPr>
        <p:spPr>
          <a:xfrm>
            <a:off x="7497" y="6597811"/>
            <a:ext cx="1042673" cy="220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35" dirty="0">
                <a:solidFill>
                  <a:srgbClr val="005DA4"/>
                </a:solidFill>
              </a:rPr>
              <a:t>http://mdwrt.com</a:t>
            </a:r>
            <a:endParaRPr lang="ru-RU" sz="835" dirty="0">
              <a:solidFill>
                <a:srgbClr val="005DA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861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5472"/>
            <a:ext cx="9938489" cy="775507"/>
          </a:xfrm>
        </p:spPr>
        <p:txBody>
          <a:bodyPr>
            <a:normAutofit/>
          </a:bodyPr>
          <a:lstStyle>
            <a:lvl1pPr>
              <a:defRPr sz="2539" cap="all" baseline="0">
                <a:latin typeface="DINPro-Medium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825626"/>
            <a:ext cx="5181600" cy="4351338"/>
          </a:xfr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  <a:lvl2pPr>
              <a:defRPr>
                <a:latin typeface="DINPro-Medium" panose="02000503030000020004" pitchFamily="50" charset="0"/>
              </a:defRPr>
            </a:lvl2pPr>
            <a:lvl3pPr>
              <a:defRPr>
                <a:latin typeface="DINPro-Medium" panose="02000503030000020004" pitchFamily="50" charset="0"/>
              </a:defRPr>
            </a:lvl3pPr>
            <a:lvl4pPr>
              <a:defRPr>
                <a:latin typeface="DINPro-Medium" panose="02000503030000020004" pitchFamily="50" charset="0"/>
              </a:defRPr>
            </a:lvl4pPr>
            <a:lvl5pPr>
              <a:defRPr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5626"/>
            <a:ext cx="5181600" cy="4351338"/>
          </a:xfr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  <a:lvl2pPr>
              <a:defRPr>
                <a:latin typeface="DINPro-Medium" panose="02000503030000020004" pitchFamily="50" charset="0"/>
              </a:defRPr>
            </a:lvl2pPr>
            <a:lvl3pPr>
              <a:defRPr>
                <a:latin typeface="DINPro-Medium" panose="02000503030000020004" pitchFamily="50" charset="0"/>
              </a:defRPr>
            </a:lvl3pPr>
            <a:lvl4pPr>
              <a:defRPr>
                <a:latin typeface="DINPro-Medium" panose="02000503030000020004" pitchFamily="50" charset="0"/>
              </a:defRPr>
            </a:lvl4pPr>
            <a:lvl5pPr>
              <a:defRPr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7137" y="6244082"/>
            <a:ext cx="997156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8" name="Group 7"/>
          <p:cNvGrpSpPr/>
          <p:nvPr/>
        </p:nvGrpSpPr>
        <p:grpSpPr>
          <a:xfrm>
            <a:off x="5" y="914404"/>
            <a:ext cx="12191998" cy="31218"/>
            <a:chOff x="0" y="914404"/>
            <a:chExt cx="12191999" cy="31218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/>
          <p:cNvGrpSpPr/>
          <p:nvPr userDrawn="1"/>
        </p:nvGrpSpPr>
        <p:grpSpPr>
          <a:xfrm>
            <a:off x="10495005" y="44535"/>
            <a:ext cx="1582126" cy="662014"/>
            <a:chOff x="10554952" y="44534"/>
            <a:chExt cx="1543126" cy="662014"/>
          </a:xfrm>
        </p:grpSpPr>
        <p:pic>
          <p:nvPicPr>
            <p:cNvPr id="12" name="Picture 11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37068" y="44534"/>
              <a:ext cx="1161010" cy="441184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 userDrawn="1"/>
          </p:nvSpPr>
          <p:spPr>
            <a:xfrm>
              <a:off x="10554952" y="485718"/>
              <a:ext cx="1479375" cy="220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35" dirty="0">
                  <a:solidFill>
                    <a:srgbClr val="005DA4"/>
                  </a:solidFill>
                </a:rPr>
                <a:t>http://mdwrt.com</a:t>
              </a:r>
              <a:endParaRPr lang="ru-RU" sz="835" dirty="0">
                <a:solidFill>
                  <a:srgbClr val="005DA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767598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572" y="2"/>
            <a:ext cx="9980318" cy="990600"/>
          </a:xfrm>
        </p:spPr>
        <p:txBody>
          <a:bodyPr>
            <a:normAutofit/>
          </a:bodyPr>
          <a:lstStyle>
            <a:lvl1pPr>
              <a:defRPr sz="2539" cap="all" baseline="0">
                <a:latin typeface="DINPro-Medium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1" y="1335882"/>
            <a:ext cx="5157787" cy="823912"/>
          </a:xfrm>
        </p:spPr>
        <p:txBody>
          <a:bodyPr anchor="b"/>
          <a:lstStyle>
            <a:lvl1pPr marL="0" indent="0">
              <a:buNone/>
              <a:defRPr sz="1909" b="1">
                <a:latin typeface="DINPro-Medium" panose="02000503030000020004" pitchFamily="50" charset="0"/>
              </a:defRPr>
            </a:lvl1pPr>
            <a:lvl2pPr marL="363636" indent="0">
              <a:buNone/>
              <a:defRPr sz="1591" b="1"/>
            </a:lvl2pPr>
            <a:lvl3pPr marL="727272" indent="0">
              <a:buNone/>
              <a:defRPr sz="1432" b="1"/>
            </a:lvl3pPr>
            <a:lvl4pPr marL="1090908" indent="0">
              <a:buNone/>
              <a:defRPr sz="1272" b="1"/>
            </a:lvl4pPr>
            <a:lvl5pPr marL="1454543" indent="0">
              <a:buNone/>
              <a:defRPr sz="1272" b="1"/>
            </a:lvl5pPr>
            <a:lvl6pPr marL="1818180" indent="0">
              <a:buNone/>
              <a:defRPr sz="1272" b="1"/>
            </a:lvl6pPr>
            <a:lvl7pPr marL="2181816" indent="0">
              <a:buNone/>
              <a:defRPr sz="1272" b="1"/>
            </a:lvl7pPr>
            <a:lvl8pPr marL="2545452" indent="0">
              <a:buNone/>
              <a:defRPr sz="1272" b="1"/>
            </a:lvl8pPr>
            <a:lvl9pPr marL="2909088" indent="0">
              <a:buNone/>
              <a:defRPr sz="127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1" y="2314575"/>
            <a:ext cx="5157787" cy="3684588"/>
          </a:xfr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  <a:lvl2pPr>
              <a:defRPr>
                <a:latin typeface="DINPro-Medium" panose="02000503030000020004" pitchFamily="50" charset="0"/>
              </a:defRPr>
            </a:lvl2pPr>
            <a:lvl3pPr>
              <a:defRPr>
                <a:latin typeface="DINPro-Medium" panose="02000503030000020004" pitchFamily="50" charset="0"/>
              </a:defRPr>
            </a:lvl3pPr>
            <a:lvl4pPr>
              <a:defRPr>
                <a:latin typeface="DINPro-Medium" panose="02000503030000020004" pitchFamily="50" charset="0"/>
              </a:defRPr>
            </a:lvl4pPr>
            <a:lvl5pPr>
              <a:defRPr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335882"/>
            <a:ext cx="5183188" cy="823912"/>
          </a:xfrm>
        </p:spPr>
        <p:txBody>
          <a:bodyPr anchor="b"/>
          <a:lstStyle>
            <a:lvl1pPr marL="0" indent="0">
              <a:buNone/>
              <a:defRPr sz="1909" b="1">
                <a:latin typeface="DINPro-Medium" panose="02000503030000020004" pitchFamily="50" charset="0"/>
              </a:defRPr>
            </a:lvl1pPr>
            <a:lvl2pPr marL="363636" indent="0">
              <a:buNone/>
              <a:defRPr sz="1591" b="1"/>
            </a:lvl2pPr>
            <a:lvl3pPr marL="727272" indent="0">
              <a:buNone/>
              <a:defRPr sz="1432" b="1"/>
            </a:lvl3pPr>
            <a:lvl4pPr marL="1090908" indent="0">
              <a:buNone/>
              <a:defRPr sz="1272" b="1"/>
            </a:lvl4pPr>
            <a:lvl5pPr marL="1454543" indent="0">
              <a:buNone/>
              <a:defRPr sz="1272" b="1"/>
            </a:lvl5pPr>
            <a:lvl6pPr marL="1818180" indent="0">
              <a:buNone/>
              <a:defRPr sz="1272" b="1"/>
            </a:lvl6pPr>
            <a:lvl7pPr marL="2181816" indent="0">
              <a:buNone/>
              <a:defRPr sz="1272" b="1"/>
            </a:lvl7pPr>
            <a:lvl8pPr marL="2545452" indent="0">
              <a:buNone/>
              <a:defRPr sz="1272" b="1"/>
            </a:lvl8pPr>
            <a:lvl9pPr marL="2909088" indent="0">
              <a:buNone/>
              <a:defRPr sz="1272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314575"/>
            <a:ext cx="5183188" cy="3684588"/>
          </a:xfr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  <a:lvl2pPr>
              <a:defRPr>
                <a:latin typeface="DINPro-Medium" panose="02000503030000020004" pitchFamily="50" charset="0"/>
              </a:defRPr>
            </a:lvl2pPr>
            <a:lvl3pPr>
              <a:defRPr>
                <a:latin typeface="DINPro-Medium" panose="02000503030000020004" pitchFamily="50" charset="0"/>
              </a:defRPr>
            </a:lvl3pPr>
            <a:lvl4pPr>
              <a:defRPr>
                <a:latin typeface="DINPro-Medium" panose="02000503030000020004" pitchFamily="50" charset="0"/>
              </a:defRPr>
            </a:lvl4pPr>
            <a:lvl5pPr>
              <a:defRPr>
                <a:latin typeface="DINPro-Medium" panose="02000503030000020004" pitchFamily="50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267137" y="6244082"/>
            <a:ext cx="997156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10" name="Group 9"/>
          <p:cNvGrpSpPr/>
          <p:nvPr/>
        </p:nvGrpSpPr>
        <p:grpSpPr>
          <a:xfrm>
            <a:off x="5" y="914404"/>
            <a:ext cx="12191998" cy="31218"/>
            <a:chOff x="0" y="914404"/>
            <a:chExt cx="12191999" cy="31218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 12"/>
          <p:cNvGrpSpPr/>
          <p:nvPr userDrawn="1"/>
        </p:nvGrpSpPr>
        <p:grpSpPr>
          <a:xfrm>
            <a:off x="10495005" y="44535"/>
            <a:ext cx="1582126" cy="662014"/>
            <a:chOff x="10554952" y="44534"/>
            <a:chExt cx="1543126" cy="662014"/>
          </a:xfrm>
        </p:grpSpPr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37068" y="44534"/>
              <a:ext cx="1161010" cy="441184"/>
            </a:xfrm>
            <a:prstGeom prst="rect">
              <a:avLst/>
            </a:prstGeom>
          </p:spPr>
        </p:pic>
        <p:sp>
          <p:nvSpPr>
            <p:cNvPr id="15" name="TextBox 14"/>
            <p:cNvSpPr txBox="1"/>
            <p:nvPr userDrawn="1"/>
          </p:nvSpPr>
          <p:spPr>
            <a:xfrm>
              <a:off x="10554952" y="485718"/>
              <a:ext cx="1479375" cy="220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35" dirty="0">
                  <a:solidFill>
                    <a:srgbClr val="005DA4"/>
                  </a:solidFill>
                </a:rPr>
                <a:t>http://mdwrt.com</a:t>
              </a:r>
              <a:endParaRPr lang="ru-RU" sz="835" dirty="0">
                <a:solidFill>
                  <a:srgbClr val="005DA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209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65472"/>
            <a:ext cx="9989289" cy="775507"/>
          </a:xfrm>
        </p:spPr>
        <p:txBody>
          <a:bodyPr>
            <a:normAutofit/>
          </a:bodyPr>
          <a:lstStyle>
            <a:lvl1pPr>
              <a:defRPr sz="2539">
                <a:latin typeface="DINPro-Medium" panose="02000503030000020004" pitchFamily="50" charset="0"/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67137" y="6244082"/>
            <a:ext cx="997156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6" name="Group 5"/>
          <p:cNvGrpSpPr/>
          <p:nvPr/>
        </p:nvGrpSpPr>
        <p:grpSpPr>
          <a:xfrm>
            <a:off x="5" y="914404"/>
            <a:ext cx="12191998" cy="31218"/>
            <a:chOff x="0" y="914404"/>
            <a:chExt cx="12191999" cy="31218"/>
          </a:xfrm>
        </p:grpSpPr>
        <p:cxnSp>
          <p:nvCxnSpPr>
            <p:cNvPr id="7" name="Straight Connector 6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7221722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10598892" y="6244143"/>
            <a:ext cx="96579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70C02F00-D4DF-4291-9037-EEA41EBBAE80}" type="datetimeFigureOut">
              <a:rPr lang="ru-RU" smtClean="0"/>
              <a:t>16.11.2018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67137" y="6244082"/>
            <a:ext cx="9971568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grpSp>
        <p:nvGrpSpPr>
          <p:cNvPr id="5" name="Group 4"/>
          <p:cNvGrpSpPr/>
          <p:nvPr/>
        </p:nvGrpSpPr>
        <p:grpSpPr>
          <a:xfrm>
            <a:off x="5" y="914404"/>
            <a:ext cx="12191998" cy="31218"/>
            <a:chOff x="0" y="914404"/>
            <a:chExt cx="12191999" cy="31218"/>
          </a:xfrm>
        </p:grpSpPr>
        <p:cxnSp>
          <p:nvCxnSpPr>
            <p:cNvPr id="6" name="Straight Connector 5"/>
            <p:cNvCxnSpPr/>
            <p:nvPr/>
          </p:nvCxnSpPr>
          <p:spPr>
            <a:xfrm>
              <a:off x="0" y="914404"/>
              <a:ext cx="12191999" cy="0"/>
            </a:xfrm>
            <a:prstGeom prst="line">
              <a:avLst/>
            </a:prstGeom>
            <a:ln w="38100"/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>
              <a:off x="0" y="945622"/>
              <a:ext cx="12191999" cy="0"/>
            </a:xfrm>
            <a:prstGeom prst="line">
              <a:avLst/>
            </a:prstGeom>
            <a:ln w="38100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4677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6917" y="50505"/>
            <a:ext cx="9671788" cy="7755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464119"/>
            <a:ext cx="10515602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63917" y="6229905"/>
            <a:ext cx="4341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55">
                <a:solidFill>
                  <a:schemeClr val="tx1">
                    <a:tint val="75000"/>
                  </a:schemeClr>
                </a:solidFill>
                <a:latin typeface="DINPro-Medium" panose="02000503030000020004" pitchFamily="50" charset="0"/>
              </a:defRPr>
            </a:lvl1pPr>
          </a:lstStyle>
          <a:p>
            <a:fld id="{5F3F9096-8ED8-4F14-8F69-892A89853C22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8" name="object 8"/>
          <p:cNvSpPr/>
          <p:nvPr/>
        </p:nvSpPr>
        <p:spPr>
          <a:xfrm>
            <a:off x="-93045" y="6562725"/>
            <a:ext cx="12285045" cy="297442"/>
          </a:xfrm>
          <a:custGeom>
            <a:avLst/>
            <a:gdLst/>
            <a:ahLst/>
            <a:cxnLst/>
            <a:rect l="l" t="t" r="r" b="b"/>
            <a:pathLst>
              <a:path w="10692130" h="260984">
                <a:moveTo>
                  <a:pt x="10692003" y="0"/>
                </a:moveTo>
                <a:lnTo>
                  <a:pt x="0" y="260527"/>
                </a:lnTo>
                <a:lnTo>
                  <a:pt x="10692003" y="260527"/>
                </a:lnTo>
                <a:lnTo>
                  <a:pt x="10692003" y="0"/>
                </a:lnTo>
                <a:close/>
              </a:path>
            </a:pathLst>
          </a:custGeom>
          <a:solidFill>
            <a:srgbClr val="005DA4"/>
          </a:solidFill>
        </p:spPr>
        <p:txBody>
          <a:bodyPr wrap="square" lIns="0" tIns="0" rIns="0" bIns="0" rtlCol="0"/>
          <a:lstStyle/>
          <a:p>
            <a:endParaRPr sz="1298" dirty="0"/>
          </a:p>
        </p:txBody>
      </p:sp>
    </p:spTree>
    <p:extLst>
      <p:ext uri="{BB962C8B-B14F-4D97-AF65-F5344CB8AC3E}">
        <p14:creationId xmlns:p14="http://schemas.microsoft.com/office/powerpoint/2010/main" val="4083332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7" r:id="rId3"/>
    <p:sldLayoutId id="2147483663" r:id="rId4"/>
    <p:sldLayoutId id="2147483678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  <p:sldLayoutId id="2147483672" r:id="rId14"/>
    <p:sldLayoutId id="2147483673" r:id="rId15"/>
    <p:sldLayoutId id="2147483674" r:id="rId16"/>
    <p:sldLayoutId id="2147483675" r:id="rId17"/>
    <p:sldLayoutId id="2147483676" r:id="rId18"/>
    <p:sldLayoutId id="2147483679" r:id="rId19"/>
  </p:sldLayoutIdLst>
  <p:txStyles>
    <p:titleStyle>
      <a:lvl1pPr algn="l" defTabSz="727272" rtl="0" eaLnBrk="1" latinLnBrk="0" hangingPunct="1">
        <a:lnSpc>
          <a:spcPct val="90000"/>
        </a:lnSpc>
        <a:spcBef>
          <a:spcPct val="0"/>
        </a:spcBef>
        <a:buNone/>
        <a:defRPr sz="2539" kern="1200" cap="all" baseline="0">
          <a:solidFill>
            <a:srgbClr val="005DA4"/>
          </a:solidFill>
          <a:latin typeface="DINPro-Medium" panose="02000503030000020004" pitchFamily="50" charset="0"/>
          <a:ea typeface="+mj-ea"/>
          <a:cs typeface="+mj-cs"/>
        </a:defRPr>
      </a:lvl1pPr>
    </p:titleStyle>
    <p:bodyStyle>
      <a:lvl1pPr marL="181818" indent="-181818" algn="l" defTabSz="727272" rtl="0" eaLnBrk="1" latinLnBrk="0" hangingPunct="1">
        <a:lnSpc>
          <a:spcPct val="90000"/>
        </a:lnSpc>
        <a:spcBef>
          <a:spcPts val="795"/>
        </a:spcBef>
        <a:buFont typeface="Arial" panose="020B0604020202020204" pitchFamily="34" charset="0"/>
        <a:buChar char="•"/>
        <a:defRPr sz="2227" kern="1200">
          <a:solidFill>
            <a:schemeClr val="accent5">
              <a:lumMod val="75000"/>
            </a:schemeClr>
          </a:solidFill>
          <a:latin typeface="DINPro-Medium" panose="02000503030000020004" pitchFamily="50" charset="0"/>
          <a:ea typeface="+mn-ea"/>
          <a:cs typeface="+mn-cs"/>
        </a:defRPr>
      </a:lvl1pPr>
      <a:lvl2pPr marL="545454" indent="-181818" algn="l" defTabSz="727272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909" kern="1200">
          <a:solidFill>
            <a:schemeClr val="accent5">
              <a:lumMod val="75000"/>
            </a:schemeClr>
          </a:solidFill>
          <a:latin typeface="DINPro-Medium" panose="02000503030000020004" pitchFamily="50" charset="0"/>
          <a:ea typeface="+mn-ea"/>
          <a:cs typeface="+mn-cs"/>
        </a:defRPr>
      </a:lvl2pPr>
      <a:lvl3pPr marL="909090" indent="-181818" algn="l" defTabSz="727272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591" kern="1200">
          <a:solidFill>
            <a:schemeClr val="accent5">
              <a:lumMod val="75000"/>
            </a:schemeClr>
          </a:solidFill>
          <a:latin typeface="DINPro-Medium" panose="02000503030000020004" pitchFamily="50" charset="0"/>
          <a:ea typeface="+mn-ea"/>
          <a:cs typeface="+mn-cs"/>
        </a:defRPr>
      </a:lvl3pPr>
      <a:lvl4pPr marL="1272726" indent="-181818" algn="l" defTabSz="727272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432" kern="1200">
          <a:solidFill>
            <a:schemeClr val="accent5">
              <a:lumMod val="75000"/>
            </a:schemeClr>
          </a:solidFill>
          <a:latin typeface="DINPro-Medium" panose="02000503030000020004" pitchFamily="50" charset="0"/>
          <a:ea typeface="+mn-ea"/>
          <a:cs typeface="+mn-cs"/>
        </a:defRPr>
      </a:lvl4pPr>
      <a:lvl5pPr marL="1636362" indent="-181818" algn="l" defTabSz="727272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432" kern="1200">
          <a:solidFill>
            <a:schemeClr val="accent5">
              <a:lumMod val="75000"/>
            </a:schemeClr>
          </a:solidFill>
          <a:latin typeface="DINPro-Medium" panose="02000503030000020004" pitchFamily="50" charset="0"/>
          <a:ea typeface="+mn-ea"/>
          <a:cs typeface="+mn-cs"/>
        </a:defRPr>
      </a:lvl5pPr>
      <a:lvl6pPr marL="1999998" indent="-181818" algn="l" defTabSz="727272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432" kern="1200">
          <a:solidFill>
            <a:schemeClr val="tx1"/>
          </a:solidFill>
          <a:latin typeface="+mn-lt"/>
          <a:ea typeface="+mn-ea"/>
          <a:cs typeface="+mn-cs"/>
        </a:defRPr>
      </a:lvl6pPr>
      <a:lvl7pPr marL="2363634" indent="-181818" algn="l" defTabSz="727272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432" kern="1200">
          <a:solidFill>
            <a:schemeClr val="tx1"/>
          </a:solidFill>
          <a:latin typeface="+mn-lt"/>
          <a:ea typeface="+mn-ea"/>
          <a:cs typeface="+mn-cs"/>
        </a:defRPr>
      </a:lvl7pPr>
      <a:lvl8pPr marL="2727270" indent="-181818" algn="l" defTabSz="727272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432" kern="1200">
          <a:solidFill>
            <a:schemeClr val="tx1"/>
          </a:solidFill>
          <a:latin typeface="+mn-lt"/>
          <a:ea typeface="+mn-ea"/>
          <a:cs typeface="+mn-cs"/>
        </a:defRPr>
      </a:lvl8pPr>
      <a:lvl9pPr marL="3090906" indent="-181818" algn="l" defTabSz="727272" rtl="0" eaLnBrk="1" latinLnBrk="0" hangingPunct="1">
        <a:lnSpc>
          <a:spcPct val="90000"/>
        </a:lnSpc>
        <a:spcBef>
          <a:spcPts val="398"/>
        </a:spcBef>
        <a:buFont typeface="Arial" panose="020B0604020202020204" pitchFamily="34" charset="0"/>
        <a:buChar char="•"/>
        <a:defRPr sz="143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27272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1pPr>
      <a:lvl2pPr marL="363636" algn="l" defTabSz="727272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2pPr>
      <a:lvl3pPr marL="727272" algn="l" defTabSz="727272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3pPr>
      <a:lvl4pPr marL="1090908" algn="l" defTabSz="727272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4pPr>
      <a:lvl5pPr marL="1454543" algn="l" defTabSz="727272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5pPr>
      <a:lvl6pPr marL="1818180" algn="l" defTabSz="727272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6pPr>
      <a:lvl7pPr marL="2181816" algn="l" defTabSz="727272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7pPr>
      <a:lvl8pPr marL="2545452" algn="l" defTabSz="727272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8pPr>
      <a:lvl9pPr marL="2909088" algn="l" defTabSz="727272" rtl="0" eaLnBrk="1" latinLnBrk="0" hangingPunct="1">
        <a:defRPr sz="143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" Target="slide49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slide" Target="slide29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tags" Target="../tags/tag18.xml"/><Relationship Id="rId11" Type="http://schemas.openxmlformats.org/officeDocument/2006/relationships/slide" Target="slide6.xml"/><Relationship Id="rId5" Type="http://schemas.openxmlformats.org/officeDocument/2006/relationships/tags" Target="../tags/tag17.xml"/><Relationship Id="rId10" Type="http://schemas.openxmlformats.org/officeDocument/2006/relationships/image" Target="../media/image4.emf"/><Relationship Id="rId4" Type="http://schemas.openxmlformats.org/officeDocument/2006/relationships/tags" Target="../tags/tag16.xml"/><Relationship Id="rId9" Type="http://schemas.openxmlformats.org/officeDocument/2006/relationships/oleObject" Target="../embeddings/oleObject7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2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5.xml"/><Relationship Id="rId7" Type="http://schemas.openxmlformats.org/officeDocument/2006/relationships/image" Target="../media/image4.emf"/><Relationship Id="rId12" Type="http://schemas.openxmlformats.org/officeDocument/2006/relationships/image" Target="../media/image22.svg"/><Relationship Id="rId2" Type="http://schemas.openxmlformats.org/officeDocument/2006/relationships/tags" Target="../tags/tag2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20.sv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7.xml"/><Relationship Id="rId7" Type="http://schemas.openxmlformats.org/officeDocument/2006/relationships/image" Target="../media/image1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4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29.xml"/><Relationship Id="rId7" Type="http://schemas.openxmlformats.org/officeDocument/2006/relationships/image" Target="../media/image4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31.xml"/><Relationship Id="rId7" Type="http://schemas.openxmlformats.org/officeDocument/2006/relationships/chart" Target="../charts/chart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33.xml"/><Relationship Id="rId7" Type="http://schemas.openxmlformats.org/officeDocument/2006/relationships/image" Target="../media/image4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8.xml"/><Relationship Id="rId9" Type="http://schemas.openxmlformats.org/officeDocument/2006/relationships/chart" Target="../charts/char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35.xml"/><Relationship Id="rId7" Type="http://schemas.openxmlformats.org/officeDocument/2006/relationships/image" Target="../media/image2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microsoft.com/office/2011/relationships/webextension" Target="../webextensions/webextension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28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29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30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26" Type="http://schemas.openxmlformats.org/officeDocument/2006/relationships/tags" Target="../tags/tag68.xml"/><Relationship Id="rId3" Type="http://schemas.openxmlformats.org/officeDocument/2006/relationships/tags" Target="../tags/tag45.xml"/><Relationship Id="rId21" Type="http://schemas.openxmlformats.org/officeDocument/2006/relationships/tags" Target="../tags/tag63.xml"/><Relationship Id="rId7" Type="http://schemas.openxmlformats.org/officeDocument/2006/relationships/tags" Target="../tags/tag49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0" Type="http://schemas.openxmlformats.org/officeDocument/2006/relationships/tags" Target="../tags/tag62.xml"/><Relationship Id="rId29" Type="http://schemas.openxmlformats.org/officeDocument/2006/relationships/oleObject" Target="../embeddings/oleObject2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5" Type="http://schemas.openxmlformats.org/officeDocument/2006/relationships/tags" Target="../tags/tag47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slideLayout" Target="../slideLayouts/slideLayout8.xml"/><Relationship Id="rId10" Type="http://schemas.openxmlformats.org/officeDocument/2006/relationships/tags" Target="../tags/tag52.xml"/><Relationship Id="rId19" Type="http://schemas.openxmlformats.org/officeDocument/2006/relationships/tags" Target="../tags/tag61.xml"/><Relationship Id="rId31" Type="http://schemas.openxmlformats.org/officeDocument/2006/relationships/chart" Target="../charts/chart7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image" Target="../media/image4.em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tags" Target="../tags/tag71.xml"/><Relationship Id="rId7" Type="http://schemas.microsoft.com/office/2011/relationships/webextension" Target="../webextensions/webextension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2.png"/><Relationship Id="rId2" Type="http://schemas.openxmlformats.org/officeDocument/2006/relationships/tags" Target="../tags/tag72.xml"/><Relationship Id="rId1" Type="http://schemas.openxmlformats.org/officeDocument/2006/relationships/vmlDrawing" Target="../drawings/vmlDrawing22.vml"/><Relationship Id="rId6" Type="http://schemas.microsoft.com/office/2011/relationships/webextension" Target="../webextensions/webextension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" Target="slide49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slide" Target="slide11.xml"/><Relationship Id="rId2" Type="http://schemas.openxmlformats.org/officeDocument/2006/relationships/tags" Target="../tags/tag74.xml"/><Relationship Id="rId1" Type="http://schemas.openxmlformats.org/officeDocument/2006/relationships/vmlDrawing" Target="../drawings/vmlDrawing24.vml"/><Relationship Id="rId6" Type="http://schemas.openxmlformats.org/officeDocument/2006/relationships/tags" Target="../tags/tag78.xml"/><Relationship Id="rId11" Type="http://schemas.openxmlformats.org/officeDocument/2006/relationships/slide" Target="slide6.xml"/><Relationship Id="rId5" Type="http://schemas.openxmlformats.org/officeDocument/2006/relationships/tags" Target="../tags/tag77.xml"/><Relationship Id="rId10" Type="http://schemas.openxmlformats.org/officeDocument/2006/relationships/image" Target="../media/image4.emf"/><Relationship Id="rId4" Type="http://schemas.openxmlformats.org/officeDocument/2006/relationships/tags" Target="../tags/tag76.xml"/><Relationship Id="rId9" Type="http://schemas.openxmlformats.org/officeDocument/2006/relationships/oleObject" Target="../embeddings/oleObject24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4.png"/><Relationship Id="rId2" Type="http://schemas.openxmlformats.org/officeDocument/2006/relationships/tags" Target="../tags/tag81.xml"/><Relationship Id="rId1" Type="http://schemas.openxmlformats.org/officeDocument/2006/relationships/vmlDrawing" Target="../drawings/vmlDrawing26.vml"/><Relationship Id="rId6" Type="http://schemas.microsoft.com/office/2011/relationships/webextension" Target="../webextensions/webextension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83.xml"/><Relationship Id="rId7" Type="http://schemas.openxmlformats.org/officeDocument/2006/relationships/image" Target="../media/image12.png"/><Relationship Id="rId12" Type="http://schemas.openxmlformats.org/officeDocument/2006/relationships/image" Target="../media/image17.png"/><Relationship Id="rId2" Type="http://schemas.openxmlformats.org/officeDocument/2006/relationships/tags" Target="../tags/tag82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4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15.pn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14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85.xml"/><Relationship Id="rId7" Type="http://schemas.openxmlformats.org/officeDocument/2006/relationships/image" Target="../media/image4.emf"/><Relationship Id="rId2" Type="http://schemas.openxmlformats.org/officeDocument/2006/relationships/tags" Target="../tags/tag84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24.sv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23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87.xml"/><Relationship Id="rId7" Type="http://schemas.openxmlformats.org/officeDocument/2006/relationships/image" Target="../media/image4.emf"/><Relationship Id="rId12" Type="http://schemas.openxmlformats.org/officeDocument/2006/relationships/image" Target="../media/image22.svg"/><Relationship Id="rId2" Type="http://schemas.openxmlformats.org/officeDocument/2006/relationships/tags" Target="../tags/tag86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11" Type="http://schemas.openxmlformats.org/officeDocument/2006/relationships/image" Target="../media/image21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20.svg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9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8.png"/><Relationship Id="rId2" Type="http://schemas.openxmlformats.org/officeDocument/2006/relationships/tags" Target="../tags/tag9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7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93.xml"/><Relationship Id="rId7" Type="http://schemas.openxmlformats.org/officeDocument/2006/relationships/image" Target="../media/image40.png"/><Relationship Id="rId2" Type="http://schemas.openxmlformats.org/officeDocument/2006/relationships/tags" Target="../tags/tag92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4.bin"/><Relationship Id="rId4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://www.mdwrt.com/" TargetMode="External"/><Relationship Id="rId1" Type="http://schemas.openxmlformats.org/officeDocument/2006/relationships/slideLayout" Target="../slideLayouts/slideLayout1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4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2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96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26" Type="http://schemas.openxmlformats.org/officeDocument/2006/relationships/tags" Target="../tags/tag121.xml"/><Relationship Id="rId39" Type="http://schemas.openxmlformats.org/officeDocument/2006/relationships/image" Target="../media/image4.emf"/><Relationship Id="rId3" Type="http://schemas.openxmlformats.org/officeDocument/2006/relationships/tags" Target="../tags/tag98.xml"/><Relationship Id="rId21" Type="http://schemas.openxmlformats.org/officeDocument/2006/relationships/tags" Target="../tags/tag116.xml"/><Relationship Id="rId34" Type="http://schemas.openxmlformats.org/officeDocument/2006/relationships/tags" Target="../tags/tag129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33" Type="http://schemas.openxmlformats.org/officeDocument/2006/relationships/tags" Target="../tags/tag128.xml"/><Relationship Id="rId38" Type="http://schemas.openxmlformats.org/officeDocument/2006/relationships/oleObject" Target="../embeddings/oleObject38.bin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20" Type="http://schemas.openxmlformats.org/officeDocument/2006/relationships/tags" Target="../tags/tag115.xml"/><Relationship Id="rId29" Type="http://schemas.openxmlformats.org/officeDocument/2006/relationships/tags" Target="../tags/tag124.xml"/><Relationship Id="rId1" Type="http://schemas.openxmlformats.org/officeDocument/2006/relationships/vmlDrawing" Target="../drawings/vmlDrawing38.v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24" Type="http://schemas.openxmlformats.org/officeDocument/2006/relationships/tags" Target="../tags/tag119.xml"/><Relationship Id="rId32" Type="http://schemas.openxmlformats.org/officeDocument/2006/relationships/tags" Target="../tags/tag127.xml"/><Relationship Id="rId37" Type="http://schemas.openxmlformats.org/officeDocument/2006/relationships/notesSlide" Target="../notesSlides/notesSlide8.xml"/><Relationship Id="rId40" Type="http://schemas.openxmlformats.org/officeDocument/2006/relationships/chart" Target="../charts/chart8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28" Type="http://schemas.openxmlformats.org/officeDocument/2006/relationships/tags" Target="../tags/tag123.xml"/><Relationship Id="rId36" Type="http://schemas.openxmlformats.org/officeDocument/2006/relationships/slideLayout" Target="../slideLayouts/slideLayout8.xml"/><Relationship Id="rId10" Type="http://schemas.openxmlformats.org/officeDocument/2006/relationships/tags" Target="../tags/tag105.xml"/><Relationship Id="rId19" Type="http://schemas.openxmlformats.org/officeDocument/2006/relationships/tags" Target="../tags/tag114.xml"/><Relationship Id="rId31" Type="http://schemas.openxmlformats.org/officeDocument/2006/relationships/tags" Target="../tags/tag126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tags" Target="../tags/tag122.xml"/><Relationship Id="rId30" Type="http://schemas.openxmlformats.org/officeDocument/2006/relationships/tags" Target="../tags/tag125.xml"/><Relationship Id="rId35" Type="http://schemas.openxmlformats.org/officeDocument/2006/relationships/tags" Target="../tags/tag13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3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41.vml"/><Relationship Id="rId6" Type="http://schemas.microsoft.com/office/2011/relationships/webextension" Target="../webextensions/webextension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40.png"/><Relationship Id="rId2" Type="http://schemas.openxmlformats.org/officeDocument/2006/relationships/tags" Target="../tags/tag136.xml"/><Relationship Id="rId1" Type="http://schemas.openxmlformats.org/officeDocument/2006/relationships/vmlDrawing" Target="../drawings/vmlDrawing43.vml"/><Relationship Id="rId6" Type="http://schemas.microsoft.com/office/2011/relationships/webextension" Target="../webextensions/webextension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" Target="slide29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12" Type="http://schemas.openxmlformats.org/officeDocument/2006/relationships/slide" Target="slide11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44.vml"/><Relationship Id="rId6" Type="http://schemas.openxmlformats.org/officeDocument/2006/relationships/tags" Target="../tags/tag141.xml"/><Relationship Id="rId11" Type="http://schemas.openxmlformats.org/officeDocument/2006/relationships/slide" Target="slide6.xml"/><Relationship Id="rId5" Type="http://schemas.openxmlformats.org/officeDocument/2006/relationships/tags" Target="../tags/tag140.xml"/><Relationship Id="rId10" Type="http://schemas.openxmlformats.org/officeDocument/2006/relationships/image" Target="../media/image4.emf"/><Relationship Id="rId4" Type="http://schemas.openxmlformats.org/officeDocument/2006/relationships/tags" Target="../tags/tag139.xml"/><Relationship Id="rId9" Type="http://schemas.openxmlformats.org/officeDocument/2006/relationships/oleObject" Target="../embeddings/oleObject44.bin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3.png"/><Relationship Id="rId2" Type="http://schemas.openxmlformats.org/officeDocument/2006/relationships/tags" Target="../tags/tag14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4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45.bin"/><Relationship Id="rId9" Type="http://schemas.openxmlformats.org/officeDocument/2006/relationships/image" Target="../media/image15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3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4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46.bin"/><Relationship Id="rId9" Type="http://schemas.openxmlformats.org/officeDocument/2006/relationships/image" Target="../media/image15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47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4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4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50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1.png"/><Relationship Id="rId2" Type="http://schemas.openxmlformats.org/officeDocument/2006/relationships/tags" Target="../tags/tag149.xml"/><Relationship Id="rId1" Type="http://schemas.openxmlformats.org/officeDocument/2006/relationships/vmlDrawing" Target="../drawings/vmlDrawing51.vml"/><Relationship Id="rId6" Type="http://schemas.microsoft.com/office/2011/relationships/webextension" Target="../webextensions/webextension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2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52.vml"/><Relationship Id="rId6" Type="http://schemas.microsoft.com/office/2011/relationships/webextension" Target="../webextensions/webextension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3.bin"/><Relationship Id="rId4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" Target="slide49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slide" Target="slide29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slide" Target="slide11.xml"/><Relationship Id="rId5" Type="http://schemas.openxmlformats.org/officeDocument/2006/relationships/tags" Target="../tags/tag8.xml"/><Relationship Id="rId10" Type="http://schemas.openxmlformats.org/officeDocument/2006/relationships/image" Target="../media/image4.emf"/><Relationship Id="rId4" Type="http://schemas.openxmlformats.org/officeDocument/2006/relationships/tags" Target="../tags/tag7.xml"/><Relationship Id="rId9" Type="http://schemas.openxmlformats.org/officeDocument/2006/relationships/oleObject" Target="../embeddings/oleObject3.bin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tags" Target="../tags/tag154.xml"/><Relationship Id="rId7" Type="http://schemas.openxmlformats.org/officeDocument/2006/relationships/image" Target="../media/image4.emf"/><Relationship Id="rId2" Type="http://schemas.openxmlformats.org/officeDocument/2006/relationships/tags" Target="../tags/tag153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5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tags" Target="../tags/tag156.xml"/><Relationship Id="rId7" Type="http://schemas.openxmlformats.org/officeDocument/2006/relationships/image" Target="../media/image4.emf"/><Relationship Id="rId2" Type="http://schemas.openxmlformats.org/officeDocument/2006/relationships/tags" Target="../tags/tag155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55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1.xml"/><Relationship Id="rId3" Type="http://schemas.openxmlformats.org/officeDocument/2006/relationships/tags" Target="../tags/tag158.xml"/><Relationship Id="rId7" Type="http://schemas.openxmlformats.org/officeDocument/2006/relationships/image" Target="../media/image4.emf"/><Relationship Id="rId2" Type="http://schemas.openxmlformats.org/officeDocument/2006/relationships/tags" Target="../tags/tag157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56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8.xml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tags" Target="../tags/tag160.xml"/><Relationship Id="rId7" Type="http://schemas.openxmlformats.org/officeDocument/2006/relationships/image" Target="../media/image4.emf"/><Relationship Id="rId2" Type="http://schemas.openxmlformats.org/officeDocument/2006/relationships/tags" Target="../tags/tag159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57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microsoft.com/office/2011/relationships/webextension" Target="../webextensions/webextension2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9AE7A3-2CA3-4423-A941-C760E1539A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214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B9AE7A3-2CA3-4423-A941-C760E1539A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6B015D-0B2D-4FBB-9ED8-E59A27E161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400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2219298"/>
            <a:ext cx="8501400" cy="1606735"/>
          </a:xfrm>
        </p:spPr>
        <p:txBody>
          <a:bodyPr>
            <a:normAutofit fontScale="90000"/>
          </a:bodyPr>
          <a:lstStyle/>
          <a:p>
            <a:r>
              <a:rPr lang="ru-RU" sz="6000" dirty="0">
                <a:solidFill>
                  <a:schemeClr val="tx1"/>
                </a:solidFill>
              </a:rPr>
              <a:t>ФУТУРО</a:t>
            </a:r>
            <a:r>
              <a:rPr lang="en-US" sz="6000" cap="none" dirty="0">
                <a:solidFill>
                  <a:schemeClr val="tx1"/>
                </a:solidFill>
              </a:rPr>
              <a:t>scope</a:t>
            </a:r>
            <a:r>
              <a:rPr lang="ru-RU" sz="6000" dirty="0">
                <a:solidFill>
                  <a:schemeClr val="tx1"/>
                </a:solidFill>
              </a:rPr>
              <a:t>: </a:t>
            </a:r>
            <a:r>
              <a:rPr lang="en-US" sz="6000" dirty="0">
                <a:solidFill>
                  <a:schemeClr val="tx1"/>
                </a:solidFill>
              </a:rPr>
              <a:t>AHA 2018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3255" y="4528456"/>
            <a:ext cx="10702745" cy="2329543"/>
          </a:xfrm>
        </p:spPr>
        <p:txBody>
          <a:bodyPr>
            <a:normAutofit/>
          </a:bodyPr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2000" dirty="0">
                <a:solidFill>
                  <a:prstClr val="white"/>
                </a:solidFill>
                <a:latin typeface="DINPro-Medium"/>
              </a:rPr>
              <a:t>ЯКОВ ПАХОМОВ, Медицинский директор </a:t>
            </a:r>
            <a:r>
              <a:rPr lang="en-US" sz="2000" dirty="0">
                <a:solidFill>
                  <a:prstClr val="white"/>
                </a:solidFill>
                <a:latin typeface="DINPro-Medium"/>
              </a:rPr>
              <a:t>MAG</a:t>
            </a:r>
          </a:p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sz="2000" dirty="0">
                <a:solidFill>
                  <a:prstClr val="white"/>
                </a:solidFill>
                <a:latin typeface="DINPro-Medium"/>
              </a:rPr>
              <a:t>yakov</a:t>
            </a:r>
            <a:r>
              <a:rPr lang="en-US" sz="2400" dirty="0">
                <a:solidFill>
                  <a:prstClr val="white"/>
                </a:solidFill>
                <a:latin typeface="Candara" panose="020E0502030303020204" pitchFamily="34" charset="0"/>
              </a:rPr>
              <a:t>@</a:t>
            </a:r>
            <a:r>
              <a:rPr lang="en-US" sz="2000" dirty="0">
                <a:solidFill>
                  <a:prstClr val="white"/>
                </a:solidFill>
                <a:latin typeface="DINPro-Medium"/>
              </a:rPr>
              <a:t>mdwrt.com</a:t>
            </a:r>
            <a:endParaRPr lang="ru-RU" sz="2000" dirty="0">
              <a:solidFill>
                <a:prstClr val="white"/>
              </a:solidFill>
              <a:latin typeface="DINPro-Medium"/>
            </a:endParaRPr>
          </a:p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endParaRPr lang="ru-RU" sz="2000" dirty="0">
              <a:solidFill>
                <a:prstClr val="white"/>
              </a:solidFill>
              <a:latin typeface="DINPro-Medium"/>
            </a:endParaRPr>
          </a:p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endParaRPr lang="ru-RU" sz="2000" dirty="0">
              <a:solidFill>
                <a:prstClr val="white"/>
              </a:solidFill>
              <a:latin typeface="DINPro-Medium"/>
            </a:endParaRPr>
          </a:p>
          <a:p>
            <a:pPr algn="ctr"/>
            <a:r>
              <a:rPr lang="en-US" sz="1800" b="1" dirty="0"/>
              <a:t>INTERNIST.RU </a:t>
            </a:r>
            <a:endParaRPr lang="en-US" sz="1800" dirty="0"/>
          </a:p>
          <a:p>
            <a:pPr algn="ctr"/>
            <a:r>
              <a:rPr lang="en-US" sz="1800" dirty="0"/>
              <a:t>15 </a:t>
            </a:r>
            <a:r>
              <a:rPr lang="ru-RU" sz="1800" dirty="0"/>
              <a:t>ноября 2018</a:t>
            </a:r>
            <a:endParaRPr lang="en-US" sz="1800" dirty="0">
              <a:solidFill>
                <a:prstClr val="white"/>
              </a:solidFill>
              <a:latin typeface="DINPro-Medium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FD511B-67D0-4745-906B-09A418091C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F9096-8ED8-4F14-8F69-892A89853C22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61747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809EF73-DE4F-4E21-84E3-189C5DAC37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246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809EF73-DE4F-4E21-84E3-189C5DAC3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51B57E-E2F7-4D1E-9B74-39341F868A5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 rot="16200000">
            <a:off x="9194657" y="2495091"/>
            <a:ext cx="5471158" cy="492125"/>
          </a:xfrm>
        </p:spPr>
        <p:txBody>
          <a:bodyPr>
            <a:normAutofit fontScale="40000" lnSpcReduction="20000"/>
          </a:bodyPr>
          <a:lstStyle/>
          <a:p>
            <a:br>
              <a:rPr lang="en-US" dirty="0"/>
            </a:br>
            <a:r>
              <a:rPr lang="en-US" b="1" dirty="0"/>
              <a:t>2018 ACC/AHA </a:t>
            </a:r>
            <a:r>
              <a:rPr lang="en-US" b="1" dirty="0" err="1"/>
              <a:t>Multisociety</a:t>
            </a:r>
            <a:r>
              <a:rPr lang="en-US" b="1" dirty="0"/>
              <a:t> Guideline on the Management of Blood Cholesterol </a:t>
            </a:r>
            <a:r>
              <a:rPr lang="en-GB" dirty="0"/>
              <a:t>https://www.acc.org/latest-in-cardiology/ten-points-to-remember/2018/11/09/14/28/2018-guideline-on-management-of-blood-cholesterol</a:t>
            </a:r>
            <a:endParaRPr lang="ru-RU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ABE4508-A50D-4C4F-818A-9312F60A1980}"/>
              </a:ext>
            </a:extLst>
          </p:cNvPr>
          <p:cNvSpPr>
            <a:spLocks noGrp="1"/>
          </p:cNvSpPr>
          <p:nvPr>
            <p:ph idx="14"/>
          </p:nvPr>
        </p:nvSpPr>
        <p:spPr>
          <a:xfrm rot="16200000">
            <a:off x="-2405545" y="2628415"/>
            <a:ext cx="6153909" cy="897082"/>
          </a:xfrm>
        </p:spPr>
        <p:txBody>
          <a:bodyPr>
            <a:normAutofit fontScale="85000" lnSpcReduction="10000"/>
          </a:bodyPr>
          <a:lstStyle/>
          <a:p>
            <a:r>
              <a:rPr lang="ru-RU" dirty="0"/>
              <a:t>ACC_AHA новые рекомендации по лечению гиперхолестеринемии 2018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554D640-FDF4-4305-9BEB-4BA19EBD0685}"/>
              </a:ext>
            </a:extLst>
          </p:cNvPr>
          <p:cNvSpPr txBox="1"/>
          <p:nvPr/>
        </p:nvSpPr>
        <p:spPr>
          <a:xfrm>
            <a:off x="10146000" y="639000"/>
            <a:ext cx="3080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≥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7423E37-1F6A-4851-BFD1-E9109926EE3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61000" y="0"/>
            <a:ext cx="83036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170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65593A0-7B9E-41CD-8C39-B260645020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952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9" imgW="362" imgH="362" progId="TCLayout.ActiveDocument.1">
                  <p:embed/>
                </p:oleObj>
              </mc:Choice>
              <mc:Fallback>
                <p:oleObj name="think-cell Slide" r:id="rId9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65593A0-7B9E-41CD-8C39-B26064502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2AF77FD-BE2B-4954-A24B-13B22C5BF0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b="1" dirty="0">
              <a:latin typeface="DINPro-Medium" panose="02000503030000020004" pitchFamily="50" charset="0"/>
              <a:sym typeface="DINPro-Medium" panose="02000503030000020004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A40949-6845-4528-AD16-EE1EAA09D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8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5D41F3AC-7470-4E94-B5DA-8DD179C9E32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43274" y="2173288"/>
            <a:ext cx="5505450" cy="835025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square" lIns="122238" tIns="112713" rIns="0" bIns="112713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ACC_AHA новые рекомендации по лечению гиперхолестеринемии 2018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A675E90-E693-4290-B5D7-DAA775830F0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43275" y="3008313"/>
            <a:ext cx="5505450" cy="573088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wrap="none" lIns="122238" tIns="122238" rIns="0" bIns="122238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2400" b="1" dirty="0">
                <a:solidFill>
                  <a:schemeClr val="bg1"/>
                </a:solidFill>
              </a:rPr>
              <a:t>DECLARE –TIMI 58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7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26C7850C-F8FC-42CF-A6D3-374C0B3E42A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43274" y="3581400"/>
            <a:ext cx="5505450" cy="573088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none" lIns="122238" tIns="122238" rIns="0" bIns="122238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2400"/>
              <a:t>REDUCE-IT</a:t>
            </a:r>
            <a:endParaRPr lang="ru-RU" dirty="0"/>
          </a:p>
        </p:txBody>
      </p:sp>
      <p:sp>
        <p:nvSpPr>
          <p:cNvPr id="9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E1E40E04-B72D-41F2-BDD3-CC24DA42056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43274" y="4154488"/>
            <a:ext cx="5505450" cy="530225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none" lIns="122238" tIns="112713" rIns="0" bIns="112713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/>
              <a:t>VITAL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064948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7BE5D5C-AA4D-40C6-8162-E7132E0C21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0999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7BE5D5C-AA4D-40C6-8162-E7132E0C2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4DA318C8-2FE8-448F-B18D-16AE1766E8C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772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24A7D35-F3E2-4866-8FB5-D2252BAF6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457" y="3143753"/>
            <a:ext cx="5848353" cy="2852737"/>
          </a:xfrm>
        </p:spPr>
        <p:txBody>
          <a:bodyPr>
            <a:normAutofit/>
          </a:bodyPr>
          <a:lstStyle/>
          <a:p>
            <a:pPr fontAlgn="base"/>
            <a:r>
              <a:rPr lang="en-GB" dirty="0"/>
              <a:t>DECLARE–TIMI 58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0A7456F-C464-4BAF-9B76-ACAC244C2635}"/>
              </a:ext>
            </a:extLst>
          </p:cNvPr>
          <p:cNvSpPr/>
          <p:nvPr/>
        </p:nvSpPr>
        <p:spPr>
          <a:xfrm>
            <a:off x="11205104" y="6007343"/>
            <a:ext cx="6783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201</a:t>
            </a:r>
            <a:r>
              <a:rPr lang="ru-RU" dirty="0">
                <a:solidFill>
                  <a:schemeClr val="accent1"/>
                </a:solidFill>
              </a:rPr>
              <a:t>8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D135A9-7AD2-4542-92F0-6A34E52712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27728" y="6492875"/>
            <a:ext cx="434164" cy="365125"/>
          </a:xfrm>
        </p:spPr>
        <p:txBody>
          <a:bodyPr/>
          <a:lstStyle/>
          <a:p>
            <a:fld id="{5F3F9096-8ED8-4F14-8F69-892A89853C22}" type="slidenum">
              <a:rPr lang="ru-RU" sz="1000" smtClean="0">
                <a:solidFill>
                  <a:schemeClr val="bg1"/>
                </a:solidFill>
              </a:rPr>
              <a:t>12</a:t>
            </a:fld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8B48C27-C584-4EC4-B7BC-E20A5449FFC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9000"/>
            <a:ext cx="6524625" cy="313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5039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132C83-6F9F-4D12-BB44-4F22374DE0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2630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6132C83-6F9F-4D12-BB44-4F22374DE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F82216C4-ABE1-4A2D-82A6-68AFF130D44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749AAF-28C4-4F0F-B733-167F29583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F9096-8ED8-4F14-8F69-892A89853C22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E62C44-EFDE-4267-95E2-B2B67E5B7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DECLARE–TIMI 58</a:t>
            </a:r>
            <a:r>
              <a:rPr lang="ru-RU" sz="2800" dirty="0"/>
              <a:t>: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ED6E39-C484-4C2E-AAAC-028D99C01419}"/>
              </a:ext>
            </a:extLst>
          </p:cNvPr>
          <p:cNvSpPr txBox="1"/>
          <p:nvPr/>
        </p:nvSpPr>
        <p:spPr>
          <a:xfrm>
            <a:off x="5983092" y="2156612"/>
            <a:ext cx="2799164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Дапаглифлозин 10 мг </a:t>
            </a:r>
            <a:r>
              <a:rPr lang="en-US" dirty="0">
                <a:solidFill>
                  <a:srgbClr val="0070C0"/>
                </a:solidFill>
              </a:rPr>
              <a:t>qd</a:t>
            </a:r>
            <a:endParaRPr lang="ru-RU" baseline="30000" dirty="0">
              <a:solidFill>
                <a:srgbClr val="0070C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F3A554-30F7-4A94-BA67-75ACF9156933}"/>
              </a:ext>
            </a:extLst>
          </p:cNvPr>
          <p:cNvSpPr txBox="1"/>
          <p:nvPr/>
        </p:nvSpPr>
        <p:spPr>
          <a:xfrm>
            <a:off x="5961429" y="3969737"/>
            <a:ext cx="1103187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dirty="0"/>
              <a:t>Плацебо</a:t>
            </a:r>
            <a:endParaRPr lang="ru-RU" baseline="30000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0D454A2-1149-469B-BA7D-56E00E36B040}"/>
              </a:ext>
            </a:extLst>
          </p:cNvPr>
          <p:cNvGrpSpPr/>
          <p:nvPr/>
        </p:nvGrpSpPr>
        <p:grpSpPr>
          <a:xfrm>
            <a:off x="4828171" y="2880575"/>
            <a:ext cx="5130719" cy="283966"/>
            <a:chOff x="4828171" y="2880575"/>
            <a:chExt cx="5130719" cy="283966"/>
          </a:xfrm>
        </p:grpSpPr>
        <p:sp>
          <p:nvSpPr>
            <p:cNvPr id="16" name="Arrow: Pentagon 15">
              <a:extLst>
                <a:ext uri="{FF2B5EF4-FFF2-40B4-BE49-F238E27FC236}">
                  <a16:creationId xmlns:a16="http://schemas.microsoft.com/office/drawing/2014/main" id="{FA55CFF4-27EA-4177-9C80-4EC51AD57DA7}"/>
                </a:ext>
              </a:extLst>
            </p:cNvPr>
            <p:cNvSpPr/>
            <p:nvPr/>
          </p:nvSpPr>
          <p:spPr>
            <a:xfrm>
              <a:off x="9209220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A6E1041C-320E-454A-99E6-B0C4627D24AD}"/>
                </a:ext>
              </a:extLst>
            </p:cNvPr>
            <p:cNvSpPr/>
            <p:nvPr/>
          </p:nvSpPr>
          <p:spPr>
            <a:xfrm>
              <a:off x="8569140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Arrow: Pentagon 12">
              <a:extLst>
                <a:ext uri="{FF2B5EF4-FFF2-40B4-BE49-F238E27FC236}">
                  <a16:creationId xmlns:a16="http://schemas.microsoft.com/office/drawing/2014/main" id="{B499D161-E2E8-48D1-B3C1-A9A8C7F5D235}"/>
                </a:ext>
              </a:extLst>
            </p:cNvPr>
            <p:cNvSpPr/>
            <p:nvPr/>
          </p:nvSpPr>
          <p:spPr>
            <a:xfrm>
              <a:off x="802857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Arrow: Pentagon 13">
              <a:extLst>
                <a:ext uri="{FF2B5EF4-FFF2-40B4-BE49-F238E27FC236}">
                  <a16:creationId xmlns:a16="http://schemas.microsoft.com/office/drawing/2014/main" id="{A9B8D2FA-96DE-435C-8E54-5CE63BB4A7B7}"/>
                </a:ext>
              </a:extLst>
            </p:cNvPr>
            <p:cNvSpPr/>
            <p:nvPr/>
          </p:nvSpPr>
          <p:spPr>
            <a:xfrm>
              <a:off x="738849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Arrow: Pentagon 14">
              <a:extLst>
                <a:ext uri="{FF2B5EF4-FFF2-40B4-BE49-F238E27FC236}">
                  <a16:creationId xmlns:a16="http://schemas.microsoft.com/office/drawing/2014/main" id="{35CC6800-20A4-4730-9AD6-D9BA89728ECE}"/>
                </a:ext>
              </a:extLst>
            </p:cNvPr>
            <p:cNvSpPr/>
            <p:nvPr/>
          </p:nvSpPr>
          <p:spPr>
            <a:xfrm>
              <a:off x="674841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Arrow: Pentagon 11">
              <a:extLst>
                <a:ext uri="{FF2B5EF4-FFF2-40B4-BE49-F238E27FC236}">
                  <a16:creationId xmlns:a16="http://schemas.microsoft.com/office/drawing/2014/main" id="{BEC56B05-9559-47D5-A639-894FDEF6BBDB}"/>
                </a:ext>
              </a:extLst>
            </p:cNvPr>
            <p:cNvSpPr/>
            <p:nvPr/>
          </p:nvSpPr>
          <p:spPr>
            <a:xfrm>
              <a:off x="610833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Arrow: Pentagon 10">
              <a:extLst>
                <a:ext uri="{FF2B5EF4-FFF2-40B4-BE49-F238E27FC236}">
                  <a16:creationId xmlns:a16="http://schemas.microsoft.com/office/drawing/2014/main" id="{0292DD3E-45DC-4EB9-BE56-84DFC2C6B160}"/>
                </a:ext>
              </a:extLst>
            </p:cNvPr>
            <p:cNvSpPr/>
            <p:nvPr/>
          </p:nvSpPr>
          <p:spPr>
            <a:xfrm>
              <a:off x="546825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7F27AA76-39AB-4210-8E1C-C2F8BE64412A}"/>
                </a:ext>
              </a:extLst>
            </p:cNvPr>
            <p:cNvSpPr/>
            <p:nvPr/>
          </p:nvSpPr>
          <p:spPr>
            <a:xfrm>
              <a:off x="482817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28D1183-8F48-4C66-B347-E2AFCEE716E7}"/>
              </a:ext>
            </a:extLst>
          </p:cNvPr>
          <p:cNvSpPr/>
          <p:nvPr/>
        </p:nvSpPr>
        <p:spPr>
          <a:xfrm>
            <a:off x="6283960" y="2880360"/>
            <a:ext cx="40641" cy="284481"/>
          </a:xfrm>
          <a:custGeom>
            <a:avLst/>
            <a:gdLst/>
            <a:ahLst/>
            <a:cxnLst/>
            <a:rect l="0" t="0" r="0" b="0"/>
            <a:pathLst>
              <a:path w="40641" h="284481">
                <a:moveTo>
                  <a:pt x="0" y="0"/>
                </a:moveTo>
                <a:lnTo>
                  <a:pt x="0" y="0"/>
                </a:lnTo>
                <a:lnTo>
                  <a:pt x="40640" y="142240"/>
                </a:lnTo>
                <a:lnTo>
                  <a:pt x="0" y="284480"/>
                </a:lnTo>
              </a:path>
            </a:pathLst>
          </a:custGeom>
          <a:ln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EEF24080-2449-4A93-A07C-B870F02162BA}"/>
              </a:ext>
            </a:extLst>
          </p:cNvPr>
          <p:cNvSpPr/>
          <p:nvPr/>
        </p:nvSpPr>
        <p:spPr>
          <a:xfrm>
            <a:off x="5443590" y="2880060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5E23735C-E752-460B-B74A-61EA3CB8CFC3}"/>
              </a:ext>
            </a:extLst>
          </p:cNvPr>
          <p:cNvSpPr/>
          <p:nvPr/>
        </p:nvSpPr>
        <p:spPr>
          <a:xfrm>
            <a:off x="6114151" y="2880059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BEC46490-905E-4836-A660-D78566D4373C}"/>
              </a:ext>
            </a:extLst>
          </p:cNvPr>
          <p:cNvSpPr/>
          <p:nvPr/>
        </p:nvSpPr>
        <p:spPr>
          <a:xfrm>
            <a:off x="6723750" y="2880059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9537A3C3-6CE4-4202-95BC-43E72271F23C}"/>
              </a:ext>
            </a:extLst>
          </p:cNvPr>
          <p:cNvSpPr/>
          <p:nvPr/>
        </p:nvSpPr>
        <p:spPr>
          <a:xfrm>
            <a:off x="7394311" y="2880058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A29CDA92-6606-43A3-AF3A-25F00FE67B2A}"/>
              </a:ext>
            </a:extLst>
          </p:cNvPr>
          <p:cNvSpPr/>
          <p:nvPr/>
        </p:nvSpPr>
        <p:spPr>
          <a:xfrm>
            <a:off x="8009649" y="2880058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96887D84-684C-4B29-A43E-A64F86928875}"/>
              </a:ext>
            </a:extLst>
          </p:cNvPr>
          <p:cNvSpPr/>
          <p:nvPr/>
        </p:nvSpPr>
        <p:spPr>
          <a:xfrm>
            <a:off x="8680210" y="2880057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C5B716E1-56B5-463A-99AC-6E3554EF3D62}"/>
              </a:ext>
            </a:extLst>
          </p:cNvPr>
          <p:cNvSpPr/>
          <p:nvPr/>
        </p:nvSpPr>
        <p:spPr>
          <a:xfrm>
            <a:off x="9199914" y="2880057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91B30609-128E-4E59-8B65-CBACBD5151D1}"/>
              </a:ext>
            </a:extLst>
          </p:cNvPr>
          <p:cNvSpPr/>
          <p:nvPr/>
        </p:nvSpPr>
        <p:spPr>
          <a:xfrm>
            <a:off x="9870475" y="2880056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BC65DDA-B9F8-45C6-8F15-47C85844F46D}"/>
              </a:ext>
            </a:extLst>
          </p:cNvPr>
          <p:cNvGrpSpPr/>
          <p:nvPr/>
        </p:nvGrpSpPr>
        <p:grpSpPr>
          <a:xfrm>
            <a:off x="4858028" y="3377182"/>
            <a:ext cx="5130719" cy="283966"/>
            <a:chOff x="4828171" y="2880575"/>
            <a:chExt cx="5130719" cy="283966"/>
          </a:xfrm>
        </p:grpSpPr>
        <p:sp>
          <p:nvSpPr>
            <p:cNvPr id="29" name="Arrow: Pentagon 28">
              <a:extLst>
                <a:ext uri="{FF2B5EF4-FFF2-40B4-BE49-F238E27FC236}">
                  <a16:creationId xmlns:a16="http://schemas.microsoft.com/office/drawing/2014/main" id="{28CB2BC8-D986-469A-A76C-44A324B80703}"/>
                </a:ext>
              </a:extLst>
            </p:cNvPr>
            <p:cNvSpPr/>
            <p:nvPr/>
          </p:nvSpPr>
          <p:spPr>
            <a:xfrm>
              <a:off x="9209220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Arrow: Pentagon 29">
              <a:extLst>
                <a:ext uri="{FF2B5EF4-FFF2-40B4-BE49-F238E27FC236}">
                  <a16:creationId xmlns:a16="http://schemas.microsoft.com/office/drawing/2014/main" id="{112A0B04-EE5C-4A13-8C75-2D99AEA37E77}"/>
                </a:ext>
              </a:extLst>
            </p:cNvPr>
            <p:cNvSpPr/>
            <p:nvPr/>
          </p:nvSpPr>
          <p:spPr>
            <a:xfrm>
              <a:off x="8569140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Arrow: Pentagon 30">
              <a:extLst>
                <a:ext uri="{FF2B5EF4-FFF2-40B4-BE49-F238E27FC236}">
                  <a16:creationId xmlns:a16="http://schemas.microsoft.com/office/drawing/2014/main" id="{91477EBA-5F6E-43B6-A415-029A79E310CA}"/>
                </a:ext>
              </a:extLst>
            </p:cNvPr>
            <p:cNvSpPr/>
            <p:nvPr/>
          </p:nvSpPr>
          <p:spPr>
            <a:xfrm>
              <a:off x="802857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Arrow: Pentagon 31">
              <a:extLst>
                <a:ext uri="{FF2B5EF4-FFF2-40B4-BE49-F238E27FC236}">
                  <a16:creationId xmlns:a16="http://schemas.microsoft.com/office/drawing/2014/main" id="{1BADCD14-ECA2-4875-B1F7-898F8CA5F8E1}"/>
                </a:ext>
              </a:extLst>
            </p:cNvPr>
            <p:cNvSpPr/>
            <p:nvPr/>
          </p:nvSpPr>
          <p:spPr>
            <a:xfrm>
              <a:off x="738849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Arrow: Pentagon 32">
              <a:extLst>
                <a:ext uri="{FF2B5EF4-FFF2-40B4-BE49-F238E27FC236}">
                  <a16:creationId xmlns:a16="http://schemas.microsoft.com/office/drawing/2014/main" id="{66A9AE12-AFE5-4AE5-92E7-E0B158CCC47D}"/>
                </a:ext>
              </a:extLst>
            </p:cNvPr>
            <p:cNvSpPr/>
            <p:nvPr/>
          </p:nvSpPr>
          <p:spPr>
            <a:xfrm>
              <a:off x="674841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Arrow: Pentagon 33">
              <a:extLst>
                <a:ext uri="{FF2B5EF4-FFF2-40B4-BE49-F238E27FC236}">
                  <a16:creationId xmlns:a16="http://schemas.microsoft.com/office/drawing/2014/main" id="{E9D5789C-54F7-47A1-B621-6ADE4137469D}"/>
                </a:ext>
              </a:extLst>
            </p:cNvPr>
            <p:cNvSpPr/>
            <p:nvPr/>
          </p:nvSpPr>
          <p:spPr>
            <a:xfrm>
              <a:off x="610833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Arrow: Pentagon 34">
              <a:extLst>
                <a:ext uri="{FF2B5EF4-FFF2-40B4-BE49-F238E27FC236}">
                  <a16:creationId xmlns:a16="http://schemas.microsoft.com/office/drawing/2014/main" id="{AB91F550-0AB4-4952-BBB0-BE79D10853F3}"/>
                </a:ext>
              </a:extLst>
            </p:cNvPr>
            <p:cNvSpPr/>
            <p:nvPr/>
          </p:nvSpPr>
          <p:spPr>
            <a:xfrm>
              <a:off x="546825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Arrow: Pentagon 35">
              <a:extLst>
                <a:ext uri="{FF2B5EF4-FFF2-40B4-BE49-F238E27FC236}">
                  <a16:creationId xmlns:a16="http://schemas.microsoft.com/office/drawing/2014/main" id="{3A1E17EF-A6CB-45C2-BB1A-EDEE04CEE8CA}"/>
                </a:ext>
              </a:extLst>
            </p:cNvPr>
            <p:cNvSpPr/>
            <p:nvPr/>
          </p:nvSpPr>
          <p:spPr>
            <a:xfrm>
              <a:off x="482817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7" name="Arrow: Chevron 36">
            <a:extLst>
              <a:ext uri="{FF2B5EF4-FFF2-40B4-BE49-F238E27FC236}">
                <a16:creationId xmlns:a16="http://schemas.microsoft.com/office/drawing/2014/main" id="{56CF8A07-7DD3-43BD-9DCE-4A05198E12E4}"/>
              </a:ext>
            </a:extLst>
          </p:cNvPr>
          <p:cNvSpPr/>
          <p:nvPr/>
        </p:nvSpPr>
        <p:spPr>
          <a:xfrm>
            <a:off x="5476865" y="3374624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6C7BAE37-8D47-47A6-815C-7FFCB2F6478A}"/>
              </a:ext>
            </a:extLst>
          </p:cNvPr>
          <p:cNvSpPr/>
          <p:nvPr/>
        </p:nvSpPr>
        <p:spPr>
          <a:xfrm>
            <a:off x="6122026" y="3374623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FC4CE56F-395C-4ACE-BF99-F36377DED80D}"/>
              </a:ext>
            </a:extLst>
          </p:cNvPr>
          <p:cNvSpPr/>
          <p:nvPr/>
        </p:nvSpPr>
        <p:spPr>
          <a:xfrm>
            <a:off x="6757025" y="3374623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CDE74AD8-AAAD-460D-9F10-505437931334}"/>
              </a:ext>
            </a:extLst>
          </p:cNvPr>
          <p:cNvSpPr/>
          <p:nvPr/>
        </p:nvSpPr>
        <p:spPr>
          <a:xfrm>
            <a:off x="7407266" y="3374622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AC1392BB-7C66-418D-A200-F33FCD1CDC91}"/>
              </a:ext>
            </a:extLst>
          </p:cNvPr>
          <p:cNvSpPr/>
          <p:nvPr/>
        </p:nvSpPr>
        <p:spPr>
          <a:xfrm>
            <a:off x="8042924" y="3374622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2" name="Arrow: Chevron 41">
            <a:extLst>
              <a:ext uri="{FF2B5EF4-FFF2-40B4-BE49-F238E27FC236}">
                <a16:creationId xmlns:a16="http://schemas.microsoft.com/office/drawing/2014/main" id="{3C5C9539-3DBB-4A2E-B181-56793DC232CC}"/>
              </a:ext>
            </a:extLst>
          </p:cNvPr>
          <p:cNvSpPr/>
          <p:nvPr/>
        </p:nvSpPr>
        <p:spPr>
          <a:xfrm>
            <a:off x="8688085" y="3374621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3" name="Arrow: Chevron 42">
            <a:extLst>
              <a:ext uri="{FF2B5EF4-FFF2-40B4-BE49-F238E27FC236}">
                <a16:creationId xmlns:a16="http://schemas.microsoft.com/office/drawing/2014/main" id="{D744D7C1-6E7E-4C9F-92E3-9D4CC440D43B}"/>
              </a:ext>
            </a:extLst>
          </p:cNvPr>
          <p:cNvSpPr/>
          <p:nvPr/>
        </p:nvSpPr>
        <p:spPr>
          <a:xfrm>
            <a:off x="9233189" y="3374621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03501C6-51F6-4DC2-BF3C-84EB11567127}"/>
              </a:ext>
            </a:extLst>
          </p:cNvPr>
          <p:cNvSpPr/>
          <p:nvPr/>
        </p:nvSpPr>
        <p:spPr>
          <a:xfrm>
            <a:off x="4333911" y="3294148"/>
            <a:ext cx="432000" cy="432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128DADA-73BF-49D0-A501-873975E88C79}"/>
              </a:ext>
            </a:extLst>
          </p:cNvPr>
          <p:cNvSpPr txBox="1"/>
          <p:nvPr/>
        </p:nvSpPr>
        <p:spPr>
          <a:xfrm>
            <a:off x="3192608" y="3104492"/>
            <a:ext cx="5332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:1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473F4DCE-465F-460B-96CE-09A5A71A68B5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3004481" y="2830424"/>
            <a:ext cx="891998" cy="886488"/>
          </a:xfrm>
          <a:prstGeom prst="rect">
            <a:avLst/>
          </a:prstGeom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08B4F2D3-79E7-4BC3-89E3-4D9C10A8A205}"/>
              </a:ext>
            </a:extLst>
          </p:cNvPr>
          <p:cNvGrpSpPr/>
          <p:nvPr/>
        </p:nvGrpSpPr>
        <p:grpSpPr>
          <a:xfrm>
            <a:off x="880475" y="2291850"/>
            <a:ext cx="1576070" cy="1967830"/>
            <a:chOff x="1264920" y="4343401"/>
            <a:chExt cx="2171700" cy="2384911"/>
          </a:xfrm>
        </p:grpSpPr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4D2B374C-D064-479E-A633-2BF5FF144700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0" t="30339" r="-2637" b="29284"/>
            <a:stretch/>
          </p:blipFill>
          <p:spPr>
            <a:xfrm>
              <a:off x="1264920" y="4343401"/>
              <a:ext cx="1501140" cy="632460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2EA59E1E-3733-4810-A12B-DD5388D65FC2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1" t="30338" r="50674" b="32872"/>
            <a:stretch/>
          </p:blipFill>
          <p:spPr>
            <a:xfrm>
              <a:off x="2705350" y="4343401"/>
              <a:ext cx="731270" cy="576261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719827F8-E32D-437C-9607-BC6CBE7DC97D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0" t="30339" r="-2637" b="29284"/>
            <a:stretch/>
          </p:blipFill>
          <p:spPr>
            <a:xfrm>
              <a:off x="1264920" y="4919628"/>
              <a:ext cx="1501140" cy="632460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D1F1856F-66EE-4277-BEA2-4C392E1A565F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1" t="30338" r="50674" b="32872"/>
            <a:stretch/>
          </p:blipFill>
          <p:spPr>
            <a:xfrm>
              <a:off x="2705350" y="4919628"/>
              <a:ext cx="731270" cy="576261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B28B7CAA-3317-4FF6-A29D-2CD3A9451BCF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0" t="30339" r="-2637" b="29284"/>
            <a:stretch/>
          </p:blipFill>
          <p:spPr>
            <a:xfrm>
              <a:off x="1264920" y="5519625"/>
              <a:ext cx="1501140" cy="632460"/>
            </a:xfrm>
            <a:prstGeom prst="rect">
              <a:avLst/>
            </a:prstGeom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7704602A-7833-4B44-A461-1F3E7337E55E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1" t="30338" r="50674" b="32872"/>
            <a:stretch/>
          </p:blipFill>
          <p:spPr>
            <a:xfrm>
              <a:off x="2705350" y="5519625"/>
              <a:ext cx="731270" cy="576261"/>
            </a:xfrm>
            <a:prstGeom prst="rect">
              <a:avLst/>
            </a:prstGeom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F625F3DE-4251-4ACF-B356-6FA72A15A5EF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0" t="30339" r="-2637" b="29284"/>
            <a:stretch/>
          </p:blipFill>
          <p:spPr>
            <a:xfrm>
              <a:off x="1264920" y="6095852"/>
              <a:ext cx="1501140" cy="632460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9F06A932-6292-4E75-9154-75962C509F18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1" t="30338" r="50674" b="32872"/>
            <a:stretch/>
          </p:blipFill>
          <p:spPr>
            <a:xfrm>
              <a:off x="2705350" y="6095852"/>
              <a:ext cx="731270" cy="576261"/>
            </a:xfrm>
            <a:prstGeom prst="rect">
              <a:avLst/>
            </a:prstGeom>
          </p:spPr>
        </p:pic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F740CA59-976A-498B-A31B-F74938486187}"/>
              </a:ext>
            </a:extLst>
          </p:cNvPr>
          <p:cNvSpPr/>
          <p:nvPr/>
        </p:nvSpPr>
        <p:spPr>
          <a:xfrm>
            <a:off x="846382" y="2258835"/>
            <a:ext cx="1704942" cy="2231571"/>
          </a:xfrm>
          <a:prstGeom prst="rect">
            <a:avLst/>
          </a:prstGeom>
          <a:gradFill flip="none" rotWithShape="1">
            <a:gsLst>
              <a:gs pos="96000">
                <a:schemeClr val="bg1">
                  <a:lumMod val="75000"/>
                  <a:alpha val="0"/>
                </a:schemeClr>
              </a:gs>
              <a:gs pos="47000">
                <a:schemeClr val="bg1">
                  <a:lumMod val="95000"/>
                  <a:alpha val="81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46624F9C-CC42-498A-8255-2C380E279F7D}"/>
              </a:ext>
            </a:extLst>
          </p:cNvPr>
          <p:cNvSpPr/>
          <p:nvPr/>
        </p:nvSpPr>
        <p:spPr>
          <a:xfrm>
            <a:off x="978487" y="2595310"/>
            <a:ext cx="1448370" cy="136580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78230961-FB0D-44CD-AF93-78D39FC86EF2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1065168" y="2495610"/>
            <a:ext cx="1275007" cy="1529755"/>
          </a:xfrm>
          <a:prstGeom prst="rect">
            <a:avLst/>
          </a:prstGeom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77BDC074-2896-4C7A-8BB3-27D2D6A66AE6}"/>
              </a:ext>
            </a:extLst>
          </p:cNvPr>
          <p:cNvGrpSpPr/>
          <p:nvPr/>
        </p:nvGrpSpPr>
        <p:grpSpPr>
          <a:xfrm>
            <a:off x="4315030" y="2788296"/>
            <a:ext cx="469763" cy="432000"/>
            <a:chOff x="4330069" y="2072245"/>
            <a:chExt cx="432001" cy="43200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5212FCC7-7F4A-4D8C-9C0C-3E8C4B38845E}"/>
                </a:ext>
              </a:extLst>
            </p:cNvPr>
            <p:cNvSpPr/>
            <p:nvPr/>
          </p:nvSpPr>
          <p:spPr>
            <a:xfrm>
              <a:off x="4330069" y="2072245"/>
              <a:ext cx="432000" cy="4320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234BE159-750B-445E-979F-3F151B5E4A70}"/>
                </a:ext>
              </a:extLst>
            </p:cNvPr>
            <p:cNvPicPr>
              <a:picLocks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30069" y="2103579"/>
              <a:ext cx="432001" cy="369332"/>
            </a:xfrm>
            <a:prstGeom prst="rect">
              <a:avLst/>
            </a:prstGeom>
          </p:spPr>
        </p:pic>
      </p:grpSp>
      <p:pic>
        <p:nvPicPr>
          <p:cNvPr id="74" name="Picture 73">
            <a:extLst>
              <a:ext uri="{FF2B5EF4-FFF2-40B4-BE49-F238E27FC236}">
                <a16:creationId xmlns:a16="http://schemas.microsoft.com/office/drawing/2014/main" id="{37184B1B-AFBA-4738-9434-1EDE135E6062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4321570" y="3325482"/>
            <a:ext cx="469763" cy="369332"/>
          </a:xfrm>
          <a:prstGeom prst="rect">
            <a:avLst/>
          </a:prstGeom>
        </p:spPr>
      </p:pic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FCCC2DC0-44FB-4019-B13B-1E4FA87D2911}"/>
              </a:ext>
            </a:extLst>
          </p:cNvPr>
          <p:cNvCxnSpPr>
            <a:cxnSpLocks/>
            <a:endCxn id="20" idx="2"/>
          </p:cNvCxnSpPr>
          <p:nvPr/>
        </p:nvCxnSpPr>
        <p:spPr>
          <a:xfrm flipV="1">
            <a:off x="3926580" y="3004296"/>
            <a:ext cx="388450" cy="212909"/>
          </a:xfrm>
          <a:prstGeom prst="bentConnector3">
            <a:avLst>
              <a:gd name="adj1" fmla="val 8138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6BFAC940-0EEE-4488-A5E3-8E8A593AA225}"/>
              </a:ext>
            </a:extLst>
          </p:cNvPr>
          <p:cNvCxnSpPr>
            <a:cxnSpLocks/>
            <a:endCxn id="74" idx="1"/>
          </p:cNvCxnSpPr>
          <p:nvPr/>
        </p:nvCxnSpPr>
        <p:spPr>
          <a:xfrm>
            <a:off x="3939919" y="3289158"/>
            <a:ext cx="381651" cy="220990"/>
          </a:xfrm>
          <a:prstGeom prst="bentConnector3">
            <a:avLst>
              <a:gd name="adj1" fmla="val 7695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Picture 87">
            <a:extLst>
              <a:ext uri="{FF2B5EF4-FFF2-40B4-BE49-F238E27FC236}">
                <a16:creationId xmlns:a16="http://schemas.microsoft.com/office/drawing/2014/main" id="{0EDADC83-C455-4353-B368-1C6323D4221F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10119883" y="2534251"/>
            <a:ext cx="873335" cy="85942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0A591A9F-FDB4-420F-9852-2BE12FC85F5F}"/>
              </a:ext>
            </a:extLst>
          </p:cNvPr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10071409" y="2491678"/>
            <a:ext cx="959344" cy="944565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E806BA68-7713-4831-8DCF-15F15ECE05D9}"/>
              </a:ext>
            </a:extLst>
          </p:cNvPr>
          <p:cNvSpPr txBox="1"/>
          <p:nvPr/>
        </p:nvSpPr>
        <p:spPr>
          <a:xfrm>
            <a:off x="10191769" y="2779294"/>
            <a:ext cx="7411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OP</a:t>
            </a:r>
            <a:endParaRPr lang="ru-RU" dirty="0">
              <a:solidFill>
                <a:schemeClr val="bg1"/>
              </a:solidFill>
            </a:endParaRP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2678F64-786E-487C-9E64-895E51D813F0}"/>
              </a:ext>
            </a:extLst>
          </p:cNvPr>
          <p:cNvCxnSpPr>
            <a:cxnSpLocks/>
          </p:cNvCxnSpPr>
          <p:nvPr/>
        </p:nvCxnSpPr>
        <p:spPr>
          <a:xfrm flipV="1">
            <a:off x="10551081" y="3393671"/>
            <a:ext cx="10081" cy="553489"/>
          </a:xfrm>
          <a:prstGeom prst="line">
            <a:avLst/>
          </a:prstGeom>
          <a:ln w="825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F4C78569-0450-427B-9562-0674FA9CFC75}"/>
              </a:ext>
            </a:extLst>
          </p:cNvPr>
          <p:cNvSpPr/>
          <p:nvPr/>
        </p:nvSpPr>
        <p:spPr>
          <a:xfrm>
            <a:off x="10070371" y="3489362"/>
            <a:ext cx="1143142" cy="38830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4,2 года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5E962C1-E256-4173-A9E8-1DFD0F00A016}"/>
              </a:ext>
            </a:extLst>
          </p:cNvPr>
          <p:cNvSpPr txBox="1"/>
          <p:nvPr/>
        </p:nvSpPr>
        <p:spPr>
          <a:xfrm>
            <a:off x="645294" y="1836462"/>
            <a:ext cx="2075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скрининг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4D433B3-E813-425B-9C86-E1CBEFFEA05B}"/>
              </a:ext>
            </a:extLst>
          </p:cNvPr>
          <p:cNvSpPr txBox="1"/>
          <p:nvPr/>
        </p:nvSpPr>
        <p:spPr>
          <a:xfrm>
            <a:off x="2416883" y="3757439"/>
            <a:ext cx="2075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4472C4"/>
                </a:solidFill>
              </a:rPr>
              <a:t>рандомизация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5B59379-07A8-4630-BCA7-2C9D723DE47C}"/>
              </a:ext>
            </a:extLst>
          </p:cNvPr>
          <p:cNvSpPr txBox="1"/>
          <p:nvPr/>
        </p:nvSpPr>
        <p:spPr>
          <a:xfrm>
            <a:off x="2769291" y="2415867"/>
            <a:ext cx="13705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rgbClr val="4472C4"/>
                </a:solidFill>
              </a:rPr>
              <a:t>N=17,160</a:t>
            </a:r>
            <a:endParaRPr lang="ru-RU" dirty="0">
              <a:solidFill>
                <a:srgbClr val="4472C4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42315E-66FD-4B88-86DA-CA1B3352F5C9}"/>
              </a:ext>
            </a:extLst>
          </p:cNvPr>
          <p:cNvSpPr/>
          <p:nvPr/>
        </p:nvSpPr>
        <p:spPr>
          <a:xfrm>
            <a:off x="521273" y="4496375"/>
            <a:ext cx="237972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множественные факторы риска ССЗ или ССЗ 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9D43794-349E-4DD3-9028-C3D302317FE6}"/>
              </a:ext>
            </a:extLst>
          </p:cNvPr>
          <p:cNvSpPr/>
          <p:nvPr/>
        </p:nvSpPr>
        <p:spPr>
          <a:xfrm>
            <a:off x="9773441" y="4074810"/>
            <a:ext cx="19136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Медиана наблюдения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D89FD86-AD62-4885-8661-EB6D9334605C}"/>
              </a:ext>
            </a:extLst>
          </p:cNvPr>
          <p:cNvSpPr/>
          <p:nvPr/>
        </p:nvSpPr>
        <p:spPr>
          <a:xfrm>
            <a:off x="609601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	</a:t>
            </a:r>
            <a:r>
              <a:rPr lang="en-US" sz="1100" dirty="0" err="1"/>
              <a:t>Wiviott</a:t>
            </a:r>
            <a:r>
              <a:rPr lang="en-US" sz="1100" dirty="0"/>
              <a:t>, S. D. </a:t>
            </a:r>
            <a:r>
              <a:rPr lang="en-US" sz="1100" i="1" dirty="0"/>
              <a:t>et al.</a:t>
            </a:r>
            <a:r>
              <a:rPr lang="en-US" sz="1100" dirty="0"/>
              <a:t> Dapagliflozin and Cardiovascular Outcomes in Type 2 Diabetes. </a:t>
            </a:r>
            <a:r>
              <a:rPr lang="en-US" sz="1100" i="1" dirty="0"/>
              <a:t>N. Engl. J. Med.</a:t>
            </a:r>
            <a:r>
              <a:rPr lang="en-US" sz="1100" dirty="0"/>
              <a:t> (2018). doi:10.1056/NEJMoa1812389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3710755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D4C92E-0FA6-4563-A75F-872CA5A955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1757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362" imgH="362" progId="TCLayout.ActiveDocument.1">
                  <p:embed/>
                </p:oleObj>
              </mc:Choice>
              <mc:Fallback>
                <p:oleObj name="think-cell Slide" r:id="rId6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D4C92E-0FA6-4563-A75F-872CA5A95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694981E-5870-47D9-81E4-B7718BDC8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539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B34355-66E5-4ED9-84D9-063B1DB58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DECLARE–TIMI 58</a:t>
            </a:r>
            <a:r>
              <a:rPr lang="ru-RU" dirty="0"/>
              <a:t>: Популяция пациентов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0E3384-9EB5-4EBC-AFFF-8BE6C2C43030}"/>
              </a:ext>
            </a:extLst>
          </p:cNvPr>
          <p:cNvSpPr/>
          <p:nvPr/>
        </p:nvSpPr>
        <p:spPr>
          <a:xfrm>
            <a:off x="609601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	</a:t>
            </a:r>
            <a:r>
              <a:rPr lang="en-US" sz="1100" dirty="0" err="1"/>
              <a:t>Wiviott</a:t>
            </a:r>
            <a:r>
              <a:rPr lang="en-US" sz="1100" dirty="0"/>
              <a:t>, S. D. </a:t>
            </a:r>
            <a:r>
              <a:rPr lang="en-US" sz="1100" i="1" dirty="0"/>
              <a:t>et al.</a:t>
            </a:r>
            <a:r>
              <a:rPr lang="en-US" sz="1100" dirty="0"/>
              <a:t> Dapagliflozin and Cardiovascular Outcomes in Type 2 Diabetes. </a:t>
            </a:r>
            <a:r>
              <a:rPr lang="en-US" sz="1100" i="1" dirty="0"/>
              <a:t>N. Engl. J. Med.</a:t>
            </a:r>
            <a:r>
              <a:rPr lang="en-US" sz="1100" dirty="0"/>
              <a:t> (2018). doi:10.1056/NEJMoa1812389</a:t>
            </a:r>
            <a:endParaRPr lang="ru-RU" sz="11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B948B4-78DC-40E0-9AF3-E5F156CD984D}"/>
              </a:ext>
            </a:extLst>
          </p:cNvPr>
          <p:cNvSpPr/>
          <p:nvPr/>
        </p:nvSpPr>
        <p:spPr>
          <a:xfrm>
            <a:off x="1835007" y="2052939"/>
            <a:ext cx="4172254" cy="3169099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3C4231C-840C-48A7-9D37-1F56237A77F6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7762568" y="1599986"/>
            <a:ext cx="3495368" cy="3657600"/>
          </a:xfrm>
          <a:prstGeom prst="rect">
            <a:avLst/>
          </a:prstGeom>
        </p:spPr>
      </p:pic>
      <p:pic>
        <p:nvPicPr>
          <p:cNvPr id="14" name="Graphic 13" descr="Checkmark">
            <a:extLst>
              <a:ext uri="{FF2B5EF4-FFF2-40B4-BE49-F238E27FC236}">
                <a16:creationId xmlns:a16="http://schemas.microsoft.com/office/drawing/2014/main" id="{ED099845-7DA8-4DDB-8ECF-3E226D891C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93129" y="1973724"/>
            <a:ext cx="914400" cy="914400"/>
          </a:xfrm>
          <a:prstGeom prst="rect">
            <a:avLst/>
          </a:prstGeom>
        </p:spPr>
      </p:pic>
      <p:pic>
        <p:nvPicPr>
          <p:cNvPr id="15" name="Graphic 14" descr="Close">
            <a:extLst>
              <a:ext uri="{FF2B5EF4-FFF2-40B4-BE49-F238E27FC236}">
                <a16:creationId xmlns:a16="http://schemas.microsoft.com/office/drawing/2014/main" id="{7BAB6188-A629-4C94-BFAF-01A209C7E96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843437" y="1973724"/>
            <a:ext cx="914400" cy="9144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B687018-3EDE-4141-9FE6-3C43FE478AE7}"/>
              </a:ext>
            </a:extLst>
          </p:cNvPr>
          <p:cNvSpPr/>
          <p:nvPr/>
        </p:nvSpPr>
        <p:spPr>
          <a:xfrm>
            <a:off x="7762568" y="2852213"/>
            <a:ext cx="3175741" cy="201204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sz="1400" dirty="0">
                <a:solidFill>
                  <a:prstClr val="black"/>
                </a:solidFill>
              </a:rPr>
              <a:t>СКФ</a:t>
            </a:r>
            <a:r>
              <a:rPr lang="en-US" sz="1400" dirty="0">
                <a:solidFill>
                  <a:prstClr val="black"/>
                </a:solidFill>
              </a:rPr>
              <a:t>&lt;</a:t>
            </a:r>
            <a:r>
              <a:rPr lang="ru-RU" sz="1400" dirty="0">
                <a:solidFill>
                  <a:prstClr val="black"/>
                </a:solidFill>
              </a:rPr>
              <a:t>60 мл/мин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8D78F2F-FB27-4BDB-A6EC-B695BBAC42D4}"/>
              </a:ext>
            </a:extLst>
          </p:cNvPr>
          <p:cNvCxnSpPr/>
          <p:nvPr/>
        </p:nvCxnSpPr>
        <p:spPr>
          <a:xfrm flipH="1">
            <a:off x="6007261" y="2590800"/>
            <a:ext cx="7135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5BB0BC4B-2E88-47E6-A6AA-5623C3E7258F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2264290" y="1635962"/>
            <a:ext cx="3495368" cy="36576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3D63245-5FA3-4F61-84EA-CBE4146E4582}"/>
              </a:ext>
            </a:extLst>
          </p:cNvPr>
          <p:cNvSpPr/>
          <p:nvPr/>
        </p:nvSpPr>
        <p:spPr>
          <a:xfrm>
            <a:off x="533400" y="2905246"/>
            <a:ext cx="2892706" cy="75235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множественные факторы риска ССЗ или ССЗ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D699C19-A083-4253-9187-083EDF77C10B}"/>
              </a:ext>
            </a:extLst>
          </p:cNvPr>
          <p:cNvSpPr/>
          <p:nvPr/>
        </p:nvSpPr>
        <p:spPr>
          <a:xfrm>
            <a:off x="533400" y="3657599"/>
            <a:ext cx="2892706" cy="123849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/>
              <a:t>факторы риска ССЗ: </a:t>
            </a:r>
          </a:p>
          <a:p>
            <a:pPr algn="ctr"/>
            <a:r>
              <a:rPr lang="ru-RU" sz="1400" dirty="0"/>
              <a:t>АГ, дислипидемия, курение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325DD5E-6DD6-49CB-A585-718EA5B71D14}"/>
              </a:ext>
            </a:extLst>
          </p:cNvPr>
          <p:cNvSpPr txBox="1"/>
          <p:nvPr/>
        </p:nvSpPr>
        <p:spPr>
          <a:xfrm>
            <a:off x="653308" y="1190352"/>
            <a:ext cx="4923143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dirty="0"/>
              <a:t>Пациенты старше 40 лет, с СД2 </a:t>
            </a:r>
            <a:r>
              <a:rPr lang="en-US" dirty="0"/>
              <a:t>A1c </a:t>
            </a:r>
            <a:r>
              <a:rPr lang="ru-RU" dirty="0"/>
              <a:t>6,5</a:t>
            </a:r>
            <a:r>
              <a:rPr lang="en-US" dirty="0"/>
              <a:t>-</a:t>
            </a:r>
            <a:r>
              <a:rPr lang="ru-RU" dirty="0"/>
              <a:t>12</a:t>
            </a:r>
            <a:r>
              <a:rPr lang="en-US" dirty="0"/>
              <a:t>%</a:t>
            </a:r>
            <a:r>
              <a:rPr lang="ru-RU" dirty="0"/>
              <a:t> </a:t>
            </a:r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361BC693-287A-46B3-8528-92B1F08D7D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09769" y="1489122"/>
            <a:ext cx="1281120" cy="533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253920" rIns="91440" bIns="0" numCol="1" anchor="ctr" anchorCtr="0" compatLnSpc="1">
            <a:prstTxWarp prst="textNoShape">
              <a:avLst/>
            </a:prstTxWarp>
            <a:sp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800"/>
              <a:t>включены</a:t>
            </a:r>
            <a:endParaRPr lang="ru-RU" altLang="ru-RU" sz="20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7A356CBA-A808-4033-A991-2445D86E11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67227" y="1404777"/>
            <a:ext cx="1402948" cy="533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253920" rIns="91440" bIns="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None/>
              <a:defRPr lang="en-US" sz="1050" kern="1200" cap="none" baseline="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j-ea"/>
                <a:cs typeface="+mj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800" dirty="0"/>
              <a:t>исключены</a:t>
            </a:r>
            <a:endParaRPr lang="ru-RU" altLang="ru-RU" sz="20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9FB95E8-8317-433F-A5CF-B071128DFCDB}"/>
              </a:ext>
            </a:extLst>
          </p:cNvPr>
          <p:cNvSpPr/>
          <p:nvPr/>
        </p:nvSpPr>
        <p:spPr>
          <a:xfrm>
            <a:off x="905358" y="5428014"/>
            <a:ext cx="58154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6974 </a:t>
            </a:r>
            <a:r>
              <a:rPr lang="ru-RU" dirty="0"/>
              <a:t>пациентов </a:t>
            </a:r>
            <a:r>
              <a:rPr lang="en-US" dirty="0"/>
              <a:t>(40.6%)</a:t>
            </a:r>
            <a:r>
              <a:rPr lang="ru-RU" dirty="0"/>
              <a:t> с ССЗ и </a:t>
            </a:r>
          </a:p>
          <a:p>
            <a:r>
              <a:rPr lang="en-US" dirty="0"/>
              <a:t>10,186 (59.4%) </a:t>
            </a:r>
            <a:r>
              <a:rPr lang="ru-RU" dirty="0"/>
              <a:t>множественными факторами риска</a:t>
            </a:r>
          </a:p>
        </p:txBody>
      </p:sp>
    </p:spTree>
    <p:extLst>
      <p:ext uri="{BB962C8B-B14F-4D97-AF65-F5344CB8AC3E}">
        <p14:creationId xmlns:p14="http://schemas.microsoft.com/office/powerpoint/2010/main" val="15592719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132C83-6F9F-4D12-BB44-4F22374DE0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6312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6132C83-6F9F-4D12-BB44-4F22374DE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2859110-7514-4131-B96B-D373F3131F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539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0F82643-7CB9-4413-A637-2062F00EC692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3154680" y="765330"/>
            <a:ext cx="6157665" cy="527385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749AAF-28C4-4F0F-B733-167F29583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F9096-8ED8-4F14-8F69-892A89853C22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E62C44-EFDE-4267-95E2-B2B67E5B7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CLARE–TIMI 58</a:t>
            </a:r>
            <a:r>
              <a:rPr lang="ru-RU" dirty="0"/>
              <a:t>: конечные точки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0CBF1E-43BF-41F1-A385-1B40E5FBCB76}"/>
              </a:ext>
            </a:extLst>
          </p:cNvPr>
          <p:cNvSpPr txBox="1"/>
          <p:nvPr/>
        </p:nvSpPr>
        <p:spPr>
          <a:xfrm>
            <a:off x="1663546" y="2534804"/>
            <a:ext cx="2599981" cy="341898"/>
          </a:xfrm>
          <a:prstGeom prst="rect">
            <a:avLst/>
          </a:prstGeom>
          <a:solidFill>
            <a:schemeClr val="bg1"/>
          </a:solidFill>
          <a:effectLst>
            <a:outerShdw dist="25400" dir="5400000" sx="99000" sy="99000" algn="t" rotWithShape="0">
              <a:srgbClr val="BD2553"/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ru-RU" sz="1200" dirty="0"/>
              <a:t>ПЕРВИЧНАЯ КОНЕЧНАЯ ТОЧ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2B2CCE-5954-48A3-ADE9-34D2FFA617D8}"/>
              </a:ext>
            </a:extLst>
          </p:cNvPr>
          <p:cNvSpPr txBox="1"/>
          <p:nvPr/>
        </p:nvSpPr>
        <p:spPr>
          <a:xfrm>
            <a:off x="7928473" y="2534804"/>
            <a:ext cx="2599981" cy="341898"/>
          </a:xfrm>
          <a:prstGeom prst="rect">
            <a:avLst/>
          </a:prstGeom>
          <a:solidFill>
            <a:schemeClr val="bg1"/>
          </a:solidFill>
          <a:effectLst>
            <a:outerShdw dist="25400" dir="5400000" sx="99000" sy="99000" algn="t" rotWithShape="0">
              <a:srgbClr val="004081"/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ru-RU" sz="1200" dirty="0"/>
              <a:t>ВТОРИЧЫЕ КОНЕЧНЫЕ ТОЧКИ</a:t>
            </a:r>
          </a:p>
        </p:txBody>
      </p:sp>
      <p:sp>
        <p:nvSpPr>
          <p:cNvPr id="4" name="Chord 3">
            <a:extLst>
              <a:ext uri="{FF2B5EF4-FFF2-40B4-BE49-F238E27FC236}">
                <a16:creationId xmlns:a16="http://schemas.microsoft.com/office/drawing/2014/main" id="{66A3A7F3-F70C-4652-8C9D-EE5F24ABD5A4}"/>
              </a:ext>
            </a:extLst>
          </p:cNvPr>
          <p:cNvSpPr/>
          <p:nvPr/>
        </p:nvSpPr>
        <p:spPr>
          <a:xfrm rot="3079401">
            <a:off x="4904915" y="2554906"/>
            <a:ext cx="2300314" cy="2297594"/>
          </a:xfrm>
          <a:prstGeom prst="chord">
            <a:avLst>
              <a:gd name="adj1" fmla="val 3020290"/>
              <a:gd name="adj2" fmla="val 13935282"/>
            </a:avLst>
          </a:prstGeom>
          <a:solidFill>
            <a:srgbClr val="BD2553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3AD44A-20B7-4E29-8823-FC53A74DF8FF}"/>
              </a:ext>
            </a:extLst>
          </p:cNvPr>
          <p:cNvSpPr/>
          <p:nvPr/>
        </p:nvSpPr>
        <p:spPr>
          <a:xfrm>
            <a:off x="4759672" y="2408302"/>
            <a:ext cx="2590800" cy="2590801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A93149-630B-4D19-9BDA-A02A025282F6}"/>
              </a:ext>
            </a:extLst>
          </p:cNvPr>
          <p:cNvSpPr txBox="1"/>
          <p:nvPr/>
        </p:nvSpPr>
        <p:spPr>
          <a:xfrm>
            <a:off x="6979924" y="3097611"/>
            <a:ext cx="4664842" cy="1260693"/>
          </a:xfrm>
          <a:prstGeom prst="rect">
            <a:avLst/>
          </a:prstGeom>
          <a:solidFill>
            <a:srgbClr val="004081"/>
          </a:solidFill>
        </p:spPr>
        <p:txBody>
          <a:bodyPr wrap="square" rtlCol="0" anchor="ctr">
            <a:noAutofit/>
          </a:bodyPr>
          <a:lstStyle/>
          <a:p>
            <a:pPr marL="696913" indent="-342900"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Почечная конечная точка, </a:t>
            </a:r>
          </a:p>
          <a:p>
            <a:pPr marL="696913" indent="-342900">
              <a:buFont typeface="+mj-lt"/>
              <a:buAutoNum type="arabicPeriod"/>
            </a:pPr>
            <a:r>
              <a:rPr lang="ru-RU" dirty="0">
                <a:solidFill>
                  <a:schemeClr val="bg1"/>
                </a:solidFill>
              </a:rPr>
              <a:t>Смерть от всех причин</a:t>
            </a:r>
          </a:p>
        </p:txBody>
      </p:sp>
      <p:sp>
        <p:nvSpPr>
          <p:cNvPr id="12" name="Chord 11">
            <a:extLst>
              <a:ext uri="{FF2B5EF4-FFF2-40B4-BE49-F238E27FC236}">
                <a16:creationId xmlns:a16="http://schemas.microsoft.com/office/drawing/2014/main" id="{B482A39C-DBA8-4CF2-B12A-CE5B01D1F62B}"/>
              </a:ext>
            </a:extLst>
          </p:cNvPr>
          <p:cNvSpPr/>
          <p:nvPr/>
        </p:nvSpPr>
        <p:spPr>
          <a:xfrm rot="13896282">
            <a:off x="4904915" y="2554907"/>
            <a:ext cx="2300314" cy="2297594"/>
          </a:xfrm>
          <a:prstGeom prst="chord">
            <a:avLst>
              <a:gd name="adj1" fmla="val 3020290"/>
              <a:gd name="adj2" fmla="val 13935282"/>
            </a:avLst>
          </a:prstGeom>
          <a:solidFill>
            <a:srgbClr val="0040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3798CE-4F05-4239-91F0-9C81DB3C3272}"/>
              </a:ext>
            </a:extLst>
          </p:cNvPr>
          <p:cNvSpPr txBox="1"/>
          <p:nvPr/>
        </p:nvSpPr>
        <p:spPr>
          <a:xfrm>
            <a:off x="609600" y="3109521"/>
            <a:ext cx="4602479" cy="1260693"/>
          </a:xfrm>
          <a:prstGeom prst="rect">
            <a:avLst/>
          </a:prstGeom>
          <a:solidFill>
            <a:srgbClr val="BD2553"/>
          </a:solidFill>
        </p:spPr>
        <p:txBody>
          <a:bodyPr wrap="square" rtlCol="0" anchor="ctr"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ru-RU" sz="2400" dirty="0">
                <a:solidFill>
                  <a:schemeClr val="bg1"/>
                </a:solidFill>
                <a:sym typeface="Wingdings" panose="05000000000000000000" pitchFamily="2" charset="2"/>
              </a:rPr>
              <a:t></a:t>
            </a:r>
            <a:r>
              <a:rPr lang="en-US" sz="2400" dirty="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r>
              <a:rPr lang="ru-RU" dirty="0">
                <a:solidFill>
                  <a:schemeClr val="bg1"/>
                </a:solidFill>
                <a:sym typeface="Wingdings" panose="05000000000000000000" pitchFamily="2" charset="2"/>
              </a:rPr>
              <a:t>от сердечно-сосудистых причин или госпитализация по поводу СН</a:t>
            </a:r>
          </a:p>
          <a:p>
            <a:pPr marL="342900" indent="-342900">
              <a:buFont typeface="+mj-lt"/>
              <a:buAutoNum type="arabicPeriod"/>
            </a:pPr>
            <a:r>
              <a:rPr lang="en-US" dirty="0">
                <a:solidFill>
                  <a:schemeClr val="bg1"/>
                </a:solidFill>
                <a:sym typeface="Wingdings" panose="05000000000000000000" pitchFamily="2" charset="2"/>
              </a:rPr>
              <a:t>MACE</a:t>
            </a:r>
            <a:endParaRPr lang="en-US" dirty="0">
              <a:solidFill>
                <a:schemeClr val="bg1"/>
              </a:solidFill>
            </a:endParaRPr>
          </a:p>
          <a:p>
            <a:endParaRPr lang="ru-RU" sz="1600" dirty="0">
              <a:solidFill>
                <a:schemeClr val="bg1"/>
              </a:solidFill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D3C658F-158C-486C-88FA-EB42FB175469}"/>
              </a:ext>
            </a:extLst>
          </p:cNvPr>
          <p:cNvCxnSpPr>
            <a:cxnSpLocks/>
            <a:endCxn id="9" idx="2"/>
          </p:cNvCxnSpPr>
          <p:nvPr/>
        </p:nvCxnSpPr>
        <p:spPr>
          <a:xfrm flipV="1">
            <a:off x="2963537" y="2876702"/>
            <a:ext cx="0" cy="20239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85A5C05-99F4-4584-95DD-9AEF15C5A828}"/>
              </a:ext>
            </a:extLst>
          </p:cNvPr>
          <p:cNvCxnSpPr>
            <a:cxnSpLocks/>
          </p:cNvCxnSpPr>
          <p:nvPr/>
        </p:nvCxnSpPr>
        <p:spPr>
          <a:xfrm flipV="1">
            <a:off x="9367385" y="2882798"/>
            <a:ext cx="0" cy="202391"/>
          </a:xfrm>
          <a:prstGeom prst="line">
            <a:avLst/>
          </a:prstGeom>
          <a:ln w="19050">
            <a:solidFill>
              <a:srgbClr val="0040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Checklist">
            <a:extLst>
              <a:ext uri="{FF2B5EF4-FFF2-40B4-BE49-F238E27FC236}">
                <a16:creationId xmlns:a16="http://schemas.microsoft.com/office/drawing/2014/main" id="{2F1041FF-DD43-4822-B7AA-F057687CF3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096000" y="3532036"/>
            <a:ext cx="914400" cy="914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B2CB263-D994-441D-9DE1-264930613036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5197404" y="2977896"/>
            <a:ext cx="843556" cy="794003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04D2E320-DBAF-4E27-B6F9-BB7F507279B6}"/>
              </a:ext>
            </a:extLst>
          </p:cNvPr>
          <p:cNvSpPr/>
          <p:nvPr/>
        </p:nvSpPr>
        <p:spPr>
          <a:xfrm>
            <a:off x="609601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	</a:t>
            </a:r>
            <a:r>
              <a:rPr lang="en-US" sz="1100" dirty="0" err="1"/>
              <a:t>Wiviott</a:t>
            </a:r>
            <a:r>
              <a:rPr lang="en-US" sz="1100" dirty="0"/>
              <a:t>, S. D. </a:t>
            </a:r>
            <a:r>
              <a:rPr lang="en-US" sz="1100" i="1" dirty="0"/>
              <a:t>et al.</a:t>
            </a:r>
            <a:r>
              <a:rPr lang="en-US" sz="1100" dirty="0"/>
              <a:t> Dapagliflozin and Cardiovascular Outcomes in Type 2 Diabetes. </a:t>
            </a:r>
            <a:r>
              <a:rPr lang="en-US" sz="1100" i="1" dirty="0"/>
              <a:t>N. Engl. J. Med.</a:t>
            </a:r>
            <a:r>
              <a:rPr lang="en-US" sz="1100" dirty="0"/>
              <a:t> (2018). doi:10.1056/NEJMoa1812389</a:t>
            </a:r>
            <a:endParaRPr lang="ru-RU" sz="1100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B7FCD11-DD3E-4E07-8007-7D6529DDD6B9}"/>
              </a:ext>
            </a:extLst>
          </p:cNvPr>
          <p:cNvSpPr/>
          <p:nvPr/>
        </p:nvSpPr>
        <p:spPr>
          <a:xfrm>
            <a:off x="7350472" y="5094480"/>
            <a:ext cx="459528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(≥40% </a:t>
            </a:r>
            <a:r>
              <a:rPr lang="ru-RU" sz="1600" dirty="0"/>
              <a:t>снижение СКФ, </a:t>
            </a:r>
          </a:p>
          <a:p>
            <a:r>
              <a:rPr lang="ru-RU" sz="1600" dirty="0"/>
              <a:t>Конечная стадия почечной недостаточности</a:t>
            </a:r>
            <a:r>
              <a:rPr lang="en-US" sz="1600" dirty="0"/>
              <a:t>, </a:t>
            </a:r>
            <a:r>
              <a:rPr lang="ru-RU" sz="1600" dirty="0"/>
              <a:t> </a:t>
            </a:r>
          </a:p>
          <a:p>
            <a:r>
              <a:rPr lang="ru-RU" sz="1600" dirty="0"/>
              <a:t>смерть от почечной или сердечно-сосудистой причины</a:t>
            </a:r>
            <a:r>
              <a:rPr lang="en-US" sz="1600" dirty="0"/>
              <a:t>)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66163176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D4C92E-0FA6-4563-A75F-872CA5A955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27320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362" imgH="362" progId="TCLayout.ActiveDocument.1">
                  <p:embed/>
                </p:oleObj>
              </mc:Choice>
              <mc:Fallback>
                <p:oleObj name="think-cell Slide" r:id="rId6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D4C92E-0FA6-4563-A75F-872CA5A95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694981E-5870-47D9-81E4-B7718BDC8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539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B34355-66E5-4ED9-84D9-063B1DB58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DECLARE–TIMI 58</a:t>
            </a:r>
            <a:r>
              <a:rPr lang="ru-RU" dirty="0"/>
              <a:t>: 2 первичные конечные точки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0E3384-9EB5-4EBC-AFFF-8BE6C2C43030}"/>
              </a:ext>
            </a:extLst>
          </p:cNvPr>
          <p:cNvSpPr/>
          <p:nvPr/>
        </p:nvSpPr>
        <p:spPr>
          <a:xfrm>
            <a:off x="381006" y="6458799"/>
            <a:ext cx="6096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00" dirty="0"/>
              <a:t>1.Wiviott, S. D. </a:t>
            </a:r>
            <a:r>
              <a:rPr lang="en-US" sz="1000" i="1" dirty="0"/>
              <a:t>et al.</a:t>
            </a:r>
            <a:r>
              <a:rPr lang="en-US" sz="1000" dirty="0"/>
              <a:t> Dapagliflozin and Cardiovascular Outcomes in Type 2 Diabetes. </a:t>
            </a:r>
            <a:r>
              <a:rPr lang="en-US" sz="1000" i="1" dirty="0"/>
              <a:t>N. Engl. J. Med.</a:t>
            </a:r>
            <a:r>
              <a:rPr lang="en-US" sz="1000" dirty="0"/>
              <a:t> (2018). doi:10.1056/NEJMoa1812389</a:t>
            </a:r>
            <a:endParaRPr lang="ru-RU" sz="1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7D46D76-06FC-4F13-9C8C-A7FC918F4F2A}"/>
              </a:ext>
            </a:extLst>
          </p:cNvPr>
          <p:cNvSpPr/>
          <p:nvPr/>
        </p:nvSpPr>
        <p:spPr>
          <a:xfrm>
            <a:off x="8706000" y="1139826"/>
            <a:ext cx="7979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MACE</a:t>
            </a:r>
            <a:endParaRPr lang="ru-RU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981805E-BA32-43F9-8F02-36083932271A}"/>
              </a:ext>
            </a:extLst>
          </p:cNvPr>
          <p:cNvSpPr/>
          <p:nvPr/>
        </p:nvSpPr>
        <p:spPr>
          <a:xfrm>
            <a:off x="652965" y="852076"/>
            <a:ext cx="566607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sym typeface="Wingdings" panose="05000000000000000000" pitchFamily="2" charset="2"/>
              </a:rPr>
              <a:t></a:t>
            </a:r>
            <a:r>
              <a:rPr lang="ru-RU" dirty="0">
                <a:sym typeface="Wingdings" panose="05000000000000000000" pitchFamily="2" charset="2"/>
              </a:rPr>
              <a:t> от сердечно-сосудистых причин или госпитализация по поводу СН</a:t>
            </a:r>
            <a:endParaRPr lang="en-US" dirty="0"/>
          </a:p>
        </p:txBody>
      </p: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40AF48A8-8F7F-4A65-8E09-F71862F001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90568351"/>
              </p:ext>
            </p:extLst>
          </p:nvPr>
        </p:nvGraphicFramePr>
        <p:xfrm>
          <a:off x="339929" y="1782549"/>
          <a:ext cx="5666071" cy="39868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A25F1CE1-D162-476B-AC87-7C1CE4547863}"/>
              </a:ext>
            </a:extLst>
          </p:cNvPr>
          <p:cNvSpPr/>
          <p:nvPr/>
        </p:nvSpPr>
        <p:spPr>
          <a:xfrm>
            <a:off x="1265220" y="1816729"/>
            <a:ext cx="370577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dirty="0"/>
              <a:t>4.9% vs. 5.8%; </a:t>
            </a:r>
            <a:endParaRPr lang="ru-RU" dirty="0"/>
          </a:p>
          <a:p>
            <a:r>
              <a:rPr lang="ru-RU" dirty="0"/>
              <a:t>ОР</a:t>
            </a:r>
            <a:r>
              <a:rPr lang="pl-PL" dirty="0"/>
              <a:t>, 0.83; </a:t>
            </a:r>
            <a:endParaRPr lang="ru-RU" dirty="0"/>
          </a:p>
          <a:p>
            <a:r>
              <a:rPr lang="pl-PL" dirty="0"/>
              <a:t>95% CI, 0.73 to 0.95; P=0.005</a:t>
            </a:r>
            <a:endParaRPr lang="ru-RU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2731369-5265-446A-BBB2-B32488B9AE46}"/>
              </a:ext>
            </a:extLst>
          </p:cNvPr>
          <p:cNvSpPr/>
          <p:nvPr/>
        </p:nvSpPr>
        <p:spPr>
          <a:xfrm>
            <a:off x="6813517" y="1913946"/>
            <a:ext cx="2477483" cy="147732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dirty="0"/>
              <a:t>8.8% </a:t>
            </a:r>
            <a:r>
              <a:rPr lang="ru-RU" dirty="0"/>
              <a:t>дапаглифлозин</a:t>
            </a:r>
          </a:p>
          <a:p>
            <a:r>
              <a:rPr lang="en-US" dirty="0"/>
              <a:t>9.4% </a:t>
            </a:r>
            <a:r>
              <a:rPr lang="ru-RU" dirty="0"/>
              <a:t>плацебо</a:t>
            </a:r>
            <a:r>
              <a:rPr lang="en-US" dirty="0"/>
              <a:t>; </a:t>
            </a:r>
            <a:endParaRPr lang="ru-RU" dirty="0"/>
          </a:p>
          <a:p>
            <a:r>
              <a:rPr lang="ru-RU" dirty="0"/>
              <a:t>ОР</a:t>
            </a:r>
            <a:r>
              <a:rPr lang="en-US" dirty="0"/>
              <a:t>, 0.93;</a:t>
            </a:r>
            <a:endParaRPr lang="ru-RU" dirty="0"/>
          </a:p>
          <a:p>
            <a:r>
              <a:rPr lang="en-US" dirty="0"/>
              <a:t> 95% CI, 0.84 to 1.03; </a:t>
            </a:r>
            <a:endParaRPr lang="ru-RU" dirty="0"/>
          </a:p>
          <a:p>
            <a:r>
              <a:rPr lang="en-US" dirty="0"/>
              <a:t>P=0.17</a:t>
            </a:r>
            <a:endParaRPr lang="ru-RU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297086B-3E47-4EAC-B824-58402EBE691C}"/>
              </a:ext>
            </a:extLst>
          </p:cNvPr>
          <p:cNvSpPr/>
          <p:nvPr/>
        </p:nvSpPr>
        <p:spPr>
          <a:xfrm>
            <a:off x="1008764" y="5769446"/>
            <a:ext cx="3454792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Госпитализация по поводу СН </a:t>
            </a:r>
          </a:p>
          <a:p>
            <a:r>
              <a:rPr lang="pl-PL" dirty="0"/>
              <a:t>0.73; 95% CI, 0.61 to 0.88</a:t>
            </a:r>
            <a:endParaRPr lang="ru-RU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F0590DA-674E-4CFF-AC9B-1526B64852B2}"/>
              </a:ext>
            </a:extLst>
          </p:cNvPr>
          <p:cNvSpPr/>
          <p:nvPr/>
        </p:nvSpPr>
        <p:spPr>
          <a:xfrm>
            <a:off x="9291000" y="1816729"/>
            <a:ext cx="1635780" cy="35928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30B91D41-CFFF-4172-A3CD-9322B6EE4C6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8829943"/>
              </p:ext>
            </p:extLst>
          </p:nvPr>
        </p:nvGraphicFramePr>
        <p:xfrm>
          <a:off x="5896290" y="1782549"/>
          <a:ext cx="5400001" cy="4277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8716306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39AB9A0-D26C-45E8-81A0-2B32C28267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046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39AB9A0-D26C-45E8-81A0-2B32C28267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5E1ECF-77B3-40DC-A2F2-0967584ECF3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539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1" y="65472"/>
            <a:ext cx="10879400" cy="775507"/>
          </a:xfrm>
        </p:spPr>
        <p:txBody>
          <a:bodyPr>
            <a:normAutofit/>
          </a:bodyPr>
          <a:lstStyle/>
          <a:p>
            <a:r>
              <a:rPr lang="en-US" dirty="0"/>
              <a:t>CANVAS</a:t>
            </a:r>
            <a:r>
              <a:rPr lang="ru-RU" dirty="0"/>
              <a:t>                                        		  </a:t>
            </a:r>
            <a:r>
              <a:rPr lang="en-US" b="1" dirty="0">
                <a:solidFill>
                  <a:srgbClr val="002060"/>
                </a:solidFill>
              </a:rPr>
              <a:t>vs </a:t>
            </a:r>
            <a:r>
              <a:rPr lang="ru-RU" b="1" dirty="0">
                <a:solidFill>
                  <a:srgbClr val="002060"/>
                </a:solidFill>
              </a:rPr>
              <a:t>                </a:t>
            </a:r>
            <a:r>
              <a:rPr lang="en-GB" dirty="0"/>
              <a:t>DECLARE–TIMI 58 </a:t>
            </a:r>
            <a:r>
              <a:rPr lang="en-US" b="1" dirty="0">
                <a:solidFill>
                  <a:srgbClr val="002060"/>
                </a:solidFill>
              </a:rPr>
              <a:t>	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380998" y="6266631"/>
            <a:ext cx="400777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04805" indent="-304805"/>
            <a:r>
              <a:rPr lang="en-US" sz="1000" dirty="0"/>
              <a:t>Neal, Bruce et al. “</a:t>
            </a:r>
            <a:r>
              <a:rPr lang="en-US" sz="1000" dirty="0" err="1"/>
              <a:t>Canagliflozin</a:t>
            </a:r>
            <a:r>
              <a:rPr lang="en-US" sz="1000" dirty="0"/>
              <a:t> and Cardiovascular and Renal Events in Type 2 Diabetes.” </a:t>
            </a:r>
            <a:r>
              <a:rPr lang="en-US" sz="1000" i="1" dirty="0"/>
              <a:t>New England Journal of Medicine</a:t>
            </a:r>
            <a:r>
              <a:rPr lang="en-US" sz="1000" dirty="0"/>
              <a:t> (2017): n. </a:t>
            </a:r>
            <a:r>
              <a:rPr lang="en-US" sz="1000" dirty="0" err="1"/>
              <a:t>pag</a:t>
            </a:r>
            <a:r>
              <a:rPr lang="en-US" sz="1000" dirty="0"/>
              <a:t>. Web.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2856278-682E-4A4D-92D1-742AD995492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8322106"/>
              </p:ext>
            </p:extLst>
          </p:nvPr>
        </p:nvGraphicFramePr>
        <p:xfrm>
          <a:off x="380998" y="1487308"/>
          <a:ext cx="5400001" cy="46545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B9C241B-3F23-447D-8373-CFE4FCB3E50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19026648"/>
              </p:ext>
            </p:extLst>
          </p:nvPr>
        </p:nvGraphicFramePr>
        <p:xfrm>
          <a:off x="6089000" y="1668901"/>
          <a:ext cx="5400001" cy="46545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3E26F3EE-FDD7-4038-82A3-D78053E4CE29}"/>
              </a:ext>
            </a:extLst>
          </p:cNvPr>
          <p:cNvSpPr/>
          <p:nvPr/>
        </p:nvSpPr>
        <p:spPr>
          <a:xfrm>
            <a:off x="3711003" y="1022570"/>
            <a:ext cx="540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384B86"/>
                </a:solidFill>
              </a:rPr>
              <a:t>MACE</a:t>
            </a:r>
            <a:r>
              <a:rPr lang="ru-RU" dirty="0">
                <a:solidFill>
                  <a:srgbClr val="384B86"/>
                </a:solidFill>
              </a:rPr>
              <a:t>: </a:t>
            </a:r>
            <a:r>
              <a:rPr lang="ru-RU" dirty="0" err="1">
                <a:solidFill>
                  <a:srgbClr val="384B86"/>
                </a:solidFill>
              </a:rPr>
              <a:t>нефатальный</a:t>
            </a:r>
            <a:r>
              <a:rPr lang="ru-RU" dirty="0">
                <a:solidFill>
                  <a:srgbClr val="384B86"/>
                </a:solidFill>
              </a:rPr>
              <a:t> инфаркт +</a:t>
            </a:r>
            <a:r>
              <a:rPr lang="ru-RU" dirty="0" err="1">
                <a:solidFill>
                  <a:srgbClr val="384B86"/>
                </a:solidFill>
              </a:rPr>
              <a:t>нефатальный</a:t>
            </a:r>
            <a:r>
              <a:rPr lang="ru-RU" dirty="0">
                <a:solidFill>
                  <a:srgbClr val="384B86"/>
                </a:solidFill>
              </a:rPr>
              <a:t> инсульт+ смерть от сердечно-сосудистых причин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4726B84-846B-4A74-967E-614B1E62CD50}"/>
              </a:ext>
            </a:extLst>
          </p:cNvPr>
          <p:cNvSpPr/>
          <p:nvPr/>
        </p:nvSpPr>
        <p:spPr>
          <a:xfrm>
            <a:off x="6861003" y="6257836"/>
            <a:ext cx="450000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1.Wiviott, S. D. </a:t>
            </a:r>
            <a:r>
              <a:rPr lang="en-US" sz="1100" i="1" dirty="0"/>
              <a:t>et al.</a:t>
            </a:r>
            <a:r>
              <a:rPr lang="en-US" sz="1100" dirty="0"/>
              <a:t> Dapagliflozin and Cardiovascular Outcomes in Type 2 Diabetes. </a:t>
            </a:r>
            <a:r>
              <a:rPr lang="en-US" sz="1100" i="1" dirty="0"/>
              <a:t>N. Engl. J. Med.</a:t>
            </a:r>
            <a:r>
              <a:rPr lang="en-US" sz="1100" dirty="0"/>
              <a:t> (2018). doi:10.1056/NEJMoa1812389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1921635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9D4E7F-F25D-40FF-9AB4-9FB9942FE3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2026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362" imgH="362" progId="TCLayout.ActiveDocument.1">
                  <p:embed/>
                </p:oleObj>
              </mc:Choice>
              <mc:Fallback>
                <p:oleObj name="think-cell Slide" r:id="rId6" imgW="362" imgH="36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9D4E7F-F25D-40FF-9AB4-9FB9942FE3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7AF4ED1-41B8-4F05-853E-27B867B6B6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300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38" name="Title 37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EMPA-REG Outcome </a:t>
            </a:r>
            <a:r>
              <a:rPr lang="ru-RU" b="1" dirty="0">
                <a:solidFill>
                  <a:srgbClr val="002060"/>
                </a:solidFill>
              </a:rPr>
              <a:t>          </a:t>
            </a:r>
            <a:r>
              <a:rPr lang="en-US" b="1" dirty="0">
                <a:solidFill>
                  <a:srgbClr val="002060"/>
                </a:solidFill>
              </a:rPr>
              <a:t>vs </a:t>
            </a:r>
            <a:r>
              <a:rPr lang="ru-RU" b="1" dirty="0">
                <a:solidFill>
                  <a:srgbClr val="002060"/>
                </a:solidFill>
              </a:rPr>
              <a:t>                      </a:t>
            </a:r>
            <a:r>
              <a:rPr lang="en-GB" dirty="0"/>
              <a:t>DECLARE–TIMI 58 </a:t>
            </a:r>
            <a:r>
              <a:rPr lang="en-US" b="1" dirty="0">
                <a:solidFill>
                  <a:srgbClr val="002060"/>
                </a:solidFill>
              </a:rPr>
              <a:t>		</a:t>
            </a:r>
            <a:endParaRPr lang="ru-RU" dirty="0">
              <a:latin typeface="+mn-lt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3460908" y="1018987"/>
            <a:ext cx="5400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384B86"/>
                </a:solidFill>
              </a:rPr>
              <a:t>MACE</a:t>
            </a:r>
            <a:r>
              <a:rPr lang="ru-RU" dirty="0">
                <a:solidFill>
                  <a:srgbClr val="384B86"/>
                </a:solidFill>
              </a:rPr>
              <a:t>: </a:t>
            </a:r>
            <a:r>
              <a:rPr lang="ru-RU" dirty="0" err="1">
                <a:solidFill>
                  <a:srgbClr val="384B86"/>
                </a:solidFill>
              </a:rPr>
              <a:t>нефатальный</a:t>
            </a:r>
            <a:r>
              <a:rPr lang="ru-RU" dirty="0">
                <a:solidFill>
                  <a:srgbClr val="384B86"/>
                </a:solidFill>
              </a:rPr>
              <a:t> инфаркт +</a:t>
            </a:r>
            <a:r>
              <a:rPr lang="ru-RU" dirty="0" err="1">
                <a:solidFill>
                  <a:srgbClr val="384B86"/>
                </a:solidFill>
              </a:rPr>
              <a:t>нефатальный</a:t>
            </a:r>
            <a:r>
              <a:rPr lang="ru-RU" dirty="0">
                <a:solidFill>
                  <a:srgbClr val="384B86"/>
                </a:solidFill>
              </a:rPr>
              <a:t> инсульт+ смерть от сердечно-сосудистых причин</a:t>
            </a:r>
          </a:p>
        </p:txBody>
      </p:sp>
      <p:graphicFrame>
        <p:nvGraphicFramePr>
          <p:cNvPr id="50" name="Chart 4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30859102"/>
              </p:ext>
            </p:extLst>
          </p:nvPr>
        </p:nvGraphicFramePr>
        <p:xfrm>
          <a:off x="426000" y="1665318"/>
          <a:ext cx="5631900" cy="5127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9260-4640-46FA-9BEC-1CA762B2F5B1}" type="slidenum">
              <a:rPr lang="ru-RU" smtClean="0"/>
              <a:t>18</a:t>
            </a:fld>
            <a:endParaRPr lang="ru-RU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D178B74F-8E51-41EB-AFB2-CFEFB18A05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2725501"/>
              </p:ext>
            </p:extLst>
          </p:nvPr>
        </p:nvGraphicFramePr>
        <p:xfrm>
          <a:off x="5871000" y="1269000"/>
          <a:ext cx="5400001" cy="4668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25214617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D4C92E-0FA6-4563-A75F-872CA5A955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67374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D4C92E-0FA6-4563-A75F-872CA5A95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694981E-5870-47D9-81E4-B7718BDC8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539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B34355-66E5-4ED9-84D9-063B1DB58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DECLARE–TIMI 58</a:t>
            </a:r>
            <a:r>
              <a:rPr lang="ru-RU" dirty="0"/>
              <a:t>: Вторичные конечные точки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0E3384-9EB5-4EBC-AFFF-8BE6C2C43030}"/>
              </a:ext>
            </a:extLst>
          </p:cNvPr>
          <p:cNvSpPr/>
          <p:nvPr/>
        </p:nvSpPr>
        <p:spPr>
          <a:xfrm>
            <a:off x="609601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	</a:t>
            </a:r>
            <a:r>
              <a:rPr lang="en-US" sz="1100" dirty="0" err="1"/>
              <a:t>Wiviott</a:t>
            </a:r>
            <a:r>
              <a:rPr lang="en-US" sz="1100" dirty="0"/>
              <a:t>, S. D. </a:t>
            </a:r>
            <a:r>
              <a:rPr lang="en-US" sz="1100" i="1" dirty="0"/>
              <a:t>et al.</a:t>
            </a:r>
            <a:r>
              <a:rPr lang="en-US" sz="1100" dirty="0"/>
              <a:t> Dapagliflozin and Cardiovascular Outcomes in Type 2 Diabetes. </a:t>
            </a:r>
            <a:r>
              <a:rPr lang="en-US" sz="1100" i="1" dirty="0"/>
              <a:t>N. Engl. J. Med.</a:t>
            </a:r>
            <a:r>
              <a:rPr lang="en-US" sz="1100" dirty="0"/>
              <a:t> (2018). doi:10.1056/NEJMoa1812389</a:t>
            </a:r>
            <a:endParaRPr lang="ru-RU" sz="11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0F48733-73FB-47B6-B2EF-8929F15813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1000" y="1584000"/>
            <a:ext cx="5481852" cy="369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67CA920-B541-4459-BABA-EE6C9497631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12852" y="1584000"/>
            <a:ext cx="5565496" cy="3690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B23C0AD-78A6-42D1-B6E3-FFC0826CDF33}"/>
              </a:ext>
            </a:extLst>
          </p:cNvPr>
          <p:cNvSpPr/>
          <p:nvPr/>
        </p:nvSpPr>
        <p:spPr>
          <a:xfrm>
            <a:off x="2069314" y="1098835"/>
            <a:ext cx="31765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Почечная конечная точка</a:t>
            </a:r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F787A00-ED2F-4608-AB2C-066C63CE0E3D}"/>
              </a:ext>
            </a:extLst>
          </p:cNvPr>
          <p:cNvSpPr/>
          <p:nvPr/>
        </p:nvSpPr>
        <p:spPr>
          <a:xfrm>
            <a:off x="1146000" y="5291700"/>
            <a:ext cx="51668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(≥40% </a:t>
            </a:r>
            <a:r>
              <a:rPr lang="ru-RU" sz="1600" dirty="0"/>
              <a:t>снижение СКФ, Конечная стадия почечной недостаточности</a:t>
            </a:r>
            <a:r>
              <a:rPr lang="en-US" sz="1600" dirty="0"/>
              <a:t>, </a:t>
            </a:r>
            <a:r>
              <a:rPr lang="ru-RU" sz="1600" dirty="0"/>
              <a:t> смерть от почечной или сердечно-сосудистой причины</a:t>
            </a:r>
            <a:r>
              <a:rPr lang="en-US" sz="1600" dirty="0"/>
              <a:t>)</a:t>
            </a:r>
            <a:endParaRPr lang="ru-RU" sz="1600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ABCB6E8-D7ED-45AB-919B-E41F71D16858}"/>
              </a:ext>
            </a:extLst>
          </p:cNvPr>
          <p:cNvSpPr/>
          <p:nvPr/>
        </p:nvSpPr>
        <p:spPr>
          <a:xfrm>
            <a:off x="8054063" y="991113"/>
            <a:ext cx="210987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dirty="0">
                <a:sym typeface="Wingdings" panose="05000000000000000000" pitchFamily="2" charset="2"/>
              </a:rPr>
              <a:t></a:t>
            </a:r>
            <a:r>
              <a:rPr lang="ru-RU" dirty="0">
                <a:sym typeface="Wingdings" panose="05000000000000000000" pitchFamily="2" charset="2"/>
              </a:rPr>
              <a:t> от всех причин</a:t>
            </a:r>
            <a:endParaRPr lang="ru-RU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57B769F-C539-4F83-BE0D-5D13269559DD}"/>
              </a:ext>
            </a:extLst>
          </p:cNvPr>
          <p:cNvSpPr/>
          <p:nvPr/>
        </p:nvSpPr>
        <p:spPr>
          <a:xfrm>
            <a:off x="1407679" y="1566300"/>
            <a:ext cx="3330000" cy="923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en-US" dirty="0"/>
              <a:t>4.3% </a:t>
            </a:r>
            <a:r>
              <a:rPr lang="ru-RU" dirty="0"/>
              <a:t>дапаглифлозин</a:t>
            </a:r>
            <a:endParaRPr lang="en-US" dirty="0"/>
          </a:p>
          <a:p>
            <a:r>
              <a:rPr lang="en-US" dirty="0"/>
              <a:t>5.6% </a:t>
            </a:r>
            <a:r>
              <a:rPr lang="ru-RU" dirty="0"/>
              <a:t>плацебо</a:t>
            </a:r>
            <a:endParaRPr lang="en-US" dirty="0"/>
          </a:p>
          <a:p>
            <a:r>
              <a:rPr lang="en-US" dirty="0"/>
              <a:t>(</a:t>
            </a:r>
            <a:r>
              <a:rPr lang="ru-RU" dirty="0"/>
              <a:t>ОР</a:t>
            </a:r>
            <a:r>
              <a:rPr lang="en-US" dirty="0"/>
              <a:t>, 0.76; 95% CI, 0.67 to 0.87)</a:t>
            </a:r>
            <a:endParaRPr lang="ru-RU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A89F09B-5BD8-4C01-B40C-70DAC633601F}"/>
              </a:ext>
            </a:extLst>
          </p:cNvPr>
          <p:cNvSpPr/>
          <p:nvPr/>
        </p:nvSpPr>
        <p:spPr>
          <a:xfrm>
            <a:off x="4622508" y="1586143"/>
            <a:ext cx="117814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endParaRPr lang="ru-R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06DB1B0-E58B-4593-8BFC-AF7F723FE19A}"/>
              </a:ext>
            </a:extLst>
          </p:cNvPr>
          <p:cNvSpPr/>
          <p:nvPr/>
        </p:nvSpPr>
        <p:spPr>
          <a:xfrm>
            <a:off x="6996000" y="1557822"/>
            <a:ext cx="3330000" cy="92333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r>
              <a:rPr lang="ru-RU" dirty="0"/>
              <a:t>6,2</a:t>
            </a:r>
            <a:r>
              <a:rPr lang="en-US" dirty="0"/>
              <a:t>% </a:t>
            </a:r>
            <a:r>
              <a:rPr lang="ru-RU" dirty="0"/>
              <a:t>дапаглифлозин</a:t>
            </a:r>
            <a:endParaRPr lang="en-US" dirty="0"/>
          </a:p>
          <a:p>
            <a:r>
              <a:rPr lang="ru-RU" dirty="0"/>
              <a:t>6</a:t>
            </a:r>
            <a:r>
              <a:rPr lang="en-US" dirty="0"/>
              <a:t>.6% </a:t>
            </a:r>
            <a:r>
              <a:rPr lang="ru-RU" dirty="0"/>
              <a:t>плацебо</a:t>
            </a:r>
            <a:endParaRPr lang="en-US" dirty="0"/>
          </a:p>
          <a:p>
            <a:r>
              <a:rPr lang="en-US" dirty="0"/>
              <a:t>(</a:t>
            </a:r>
            <a:r>
              <a:rPr lang="ru-RU" dirty="0"/>
              <a:t>ОР</a:t>
            </a:r>
            <a:r>
              <a:rPr lang="en-US" dirty="0"/>
              <a:t>, </a:t>
            </a:r>
            <a:r>
              <a:rPr lang="pl-PL" dirty="0"/>
              <a:t>0.93; 95% CI, 0.82 to 1.04</a:t>
            </a:r>
            <a:r>
              <a:rPr lang="en-US" dirty="0"/>
              <a:t>)</a:t>
            </a:r>
            <a:endParaRPr lang="ru-RU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CD3E65A-EC2E-4B10-BA38-34AD1BAE5FAA}"/>
              </a:ext>
            </a:extLst>
          </p:cNvPr>
          <p:cNvSpPr/>
          <p:nvPr/>
        </p:nvSpPr>
        <p:spPr>
          <a:xfrm>
            <a:off x="9830999" y="1650155"/>
            <a:ext cx="1178149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31327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60BABD8-4212-432B-B16E-91AEF98D78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642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60BABD8-4212-432B-B16E-91AEF98D7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5E49B3D-E753-4F8B-B26E-D5CF66E01D9F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ru-RU" dirty="0"/>
              <a:t>ОПРОС</a:t>
            </a:r>
          </a:p>
        </p:txBody>
      </p:sp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9" name="Add-in 8" title="Mentimeter">
                <a:extLst>
                  <a:ext uri="{FF2B5EF4-FFF2-40B4-BE49-F238E27FC236}">
                    <a16:creationId xmlns:a16="http://schemas.microsoft.com/office/drawing/2014/main" id="{EE03F594-4421-498A-960C-DAEC483AA607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28859629"/>
                  </p:ext>
                </p:extLst>
              </p:nvPr>
            </p:nvGraphicFramePr>
            <p:xfrm>
              <a:off x="1119951" y="0"/>
              <a:ext cx="11072049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9" name="Add-in 8" title="Mentimeter">
                <a:extLst>
                  <a:ext uri="{FF2B5EF4-FFF2-40B4-BE49-F238E27FC236}">
                    <a16:creationId xmlns:a16="http://schemas.microsoft.com/office/drawing/2014/main" id="{EE03F594-4421-498A-960C-DAEC483AA60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19951" y="0"/>
                <a:ext cx="11072049" cy="685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706691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D4C92E-0FA6-4563-A75F-872CA5A955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8117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D4C92E-0FA6-4563-A75F-872CA5A95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694981E-5870-47D9-81E4-B7718BDC8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539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0E3384-9EB5-4EBC-AFFF-8BE6C2C43030}"/>
              </a:ext>
            </a:extLst>
          </p:cNvPr>
          <p:cNvSpPr/>
          <p:nvPr/>
        </p:nvSpPr>
        <p:spPr>
          <a:xfrm>
            <a:off x="609601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	</a:t>
            </a:r>
            <a:r>
              <a:rPr lang="en-US" sz="1100" dirty="0" err="1"/>
              <a:t>Wiviott</a:t>
            </a:r>
            <a:r>
              <a:rPr lang="en-US" sz="1100" dirty="0"/>
              <a:t>, S. D. </a:t>
            </a:r>
            <a:r>
              <a:rPr lang="en-US" sz="1100" i="1" dirty="0"/>
              <a:t>et al.</a:t>
            </a:r>
            <a:r>
              <a:rPr lang="en-US" sz="1100" dirty="0"/>
              <a:t> Dapagliflozin and Cardiovascular Outcomes in Type 2 Diabetes. </a:t>
            </a:r>
            <a:r>
              <a:rPr lang="en-US" sz="1100" i="1" dirty="0"/>
              <a:t>N. Engl. J. Med.</a:t>
            </a:r>
            <a:r>
              <a:rPr lang="en-US" sz="1100" dirty="0"/>
              <a:t> (2018). doi:10.1056/NEJMoa1812389</a:t>
            </a:r>
            <a:endParaRPr lang="ru-RU" sz="11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B34355-66E5-4ED9-84D9-063B1DB58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DECLARE–TIMI 58</a:t>
            </a:r>
            <a:r>
              <a:rPr lang="ru-RU" dirty="0"/>
              <a:t>: Вторичные конечные точки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D305FB5-DB78-4948-9F2C-DCF562407EC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7839" y="1026966"/>
            <a:ext cx="11228195" cy="5748528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E78DFF5-E7D8-495B-919C-BAA6ACC66604}"/>
              </a:ext>
            </a:extLst>
          </p:cNvPr>
          <p:cNvSpPr/>
          <p:nvPr/>
        </p:nvSpPr>
        <p:spPr>
          <a:xfrm>
            <a:off x="931259" y="1899000"/>
            <a:ext cx="3004741" cy="523220"/>
          </a:xfrm>
          <a:prstGeom prst="rect">
            <a:avLst/>
          </a:prstGeom>
          <a:solidFill>
            <a:srgbClr val="F3F3F4"/>
          </a:solidFill>
        </p:spPr>
        <p:txBody>
          <a:bodyPr wrap="square">
            <a:spAutoFit/>
          </a:bodyPr>
          <a:lstStyle/>
          <a:p>
            <a:r>
              <a:rPr lang="ru-RU" sz="1600" dirty="0">
                <a:sym typeface="Wingdings" panose="05000000000000000000" pitchFamily="2" charset="2"/>
              </a:rPr>
              <a:t>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ru-RU" sz="1200" dirty="0">
                <a:sym typeface="Wingdings" panose="05000000000000000000" pitchFamily="2" charset="2"/>
              </a:rPr>
              <a:t>от сердечно-сосудистых причин или госпитализация по поводу СН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B1846B7-5E4C-483B-9E3F-43461F45D7D4}"/>
              </a:ext>
            </a:extLst>
          </p:cNvPr>
          <p:cNvSpPr/>
          <p:nvPr/>
        </p:nvSpPr>
        <p:spPr>
          <a:xfrm>
            <a:off x="973683" y="2615465"/>
            <a:ext cx="2718161" cy="820793"/>
          </a:xfrm>
          <a:prstGeom prst="rect">
            <a:avLst/>
          </a:prstGeom>
          <a:solidFill>
            <a:srgbClr val="F3F3F4"/>
          </a:solidFill>
        </p:spPr>
        <p:txBody>
          <a:bodyPr wrap="square">
            <a:noAutofit/>
          </a:bodyPr>
          <a:lstStyle/>
          <a:p>
            <a:r>
              <a:rPr lang="ru-RU" sz="1200" dirty="0">
                <a:sym typeface="Wingdings" panose="05000000000000000000" pitchFamily="2" charset="2"/>
              </a:rPr>
              <a:t>Почечная конечная точка</a:t>
            </a:r>
            <a:endParaRPr lang="ru-RU" sz="1050" dirty="0">
              <a:sym typeface="Wingdings" panose="05000000000000000000" pitchFamily="2" charset="2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5F00C77-41D5-48D7-9EE2-6DBDE9C7FAB5}"/>
              </a:ext>
            </a:extLst>
          </p:cNvPr>
          <p:cNvSpPr/>
          <p:nvPr/>
        </p:nvSpPr>
        <p:spPr>
          <a:xfrm>
            <a:off x="1074548" y="3440907"/>
            <a:ext cx="2718161" cy="25682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ru-RU" sz="1200" dirty="0">
                <a:sym typeface="Wingdings" panose="05000000000000000000" pitchFamily="2" charset="2"/>
              </a:rPr>
              <a:t>Смерть от всех причин</a:t>
            </a:r>
            <a:endParaRPr lang="ru-RU" sz="1050" dirty="0">
              <a:sym typeface="Wingdings" panose="05000000000000000000" pitchFamily="2" charset="2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44248AD-328F-43FE-A2AD-4EC32D27A5B6}"/>
              </a:ext>
            </a:extLst>
          </p:cNvPr>
          <p:cNvSpPr/>
          <p:nvPr/>
        </p:nvSpPr>
        <p:spPr>
          <a:xfrm>
            <a:off x="947839" y="3691367"/>
            <a:ext cx="2718161" cy="256822"/>
          </a:xfrm>
          <a:prstGeom prst="rect">
            <a:avLst/>
          </a:prstGeom>
          <a:solidFill>
            <a:srgbClr val="F3F3F4"/>
          </a:solidFill>
        </p:spPr>
        <p:txBody>
          <a:bodyPr wrap="square">
            <a:noAutofit/>
          </a:bodyPr>
          <a:lstStyle/>
          <a:p>
            <a:r>
              <a:rPr lang="ru-RU" sz="1200" dirty="0">
                <a:sym typeface="Wingdings" panose="05000000000000000000" pitchFamily="2" charset="2"/>
              </a:rPr>
              <a:t>Госпитализация по СН</a:t>
            </a:r>
            <a:endParaRPr lang="ru-RU" sz="1050" dirty="0">
              <a:sym typeface="Wingdings" panose="05000000000000000000" pitchFamily="2" charset="2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6DB0FDA-9639-4BBE-A987-33CA1AE4AD30}"/>
              </a:ext>
            </a:extLst>
          </p:cNvPr>
          <p:cNvSpPr/>
          <p:nvPr/>
        </p:nvSpPr>
        <p:spPr>
          <a:xfrm>
            <a:off x="944181" y="3960096"/>
            <a:ext cx="2718161" cy="25682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ru-RU" sz="1200" dirty="0">
                <a:sym typeface="Wingdings" panose="05000000000000000000" pitchFamily="2" charset="2"/>
              </a:rPr>
              <a:t>ИМ</a:t>
            </a:r>
            <a:endParaRPr lang="ru-RU" sz="1050" dirty="0">
              <a:sym typeface="Wingdings" panose="05000000000000000000" pitchFamily="2" charset="2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053CCD4-2227-431B-B1DB-D1967B4FB218}"/>
              </a:ext>
            </a:extLst>
          </p:cNvPr>
          <p:cNvSpPr/>
          <p:nvPr/>
        </p:nvSpPr>
        <p:spPr>
          <a:xfrm>
            <a:off x="960761" y="4397666"/>
            <a:ext cx="3004741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600" dirty="0">
                <a:sym typeface="Wingdings" panose="05000000000000000000" pitchFamily="2" charset="2"/>
              </a:rPr>
              <a:t>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ru-RU" sz="1200" dirty="0">
                <a:sym typeface="Wingdings" panose="05000000000000000000" pitchFamily="2" charset="2"/>
              </a:rPr>
              <a:t>от сердечно-сосудистых причин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649EA7C-6099-4B81-9AB0-DB41CBEB5958}"/>
              </a:ext>
            </a:extLst>
          </p:cNvPr>
          <p:cNvSpPr/>
          <p:nvPr/>
        </p:nvSpPr>
        <p:spPr>
          <a:xfrm>
            <a:off x="960761" y="4190865"/>
            <a:ext cx="2718161" cy="256822"/>
          </a:xfrm>
          <a:prstGeom prst="rect">
            <a:avLst/>
          </a:prstGeom>
          <a:solidFill>
            <a:srgbClr val="F3F3F4"/>
          </a:solidFill>
        </p:spPr>
        <p:txBody>
          <a:bodyPr wrap="square">
            <a:noAutofit/>
          </a:bodyPr>
          <a:lstStyle/>
          <a:p>
            <a:r>
              <a:rPr lang="ru-RU" sz="1200" dirty="0">
                <a:sym typeface="Wingdings" panose="05000000000000000000" pitchFamily="2" charset="2"/>
              </a:rPr>
              <a:t>Инсульт</a:t>
            </a:r>
            <a:endParaRPr lang="ru-RU" sz="1050" dirty="0">
              <a:sym typeface="Wingdings" panose="05000000000000000000" pitchFamily="2" charset="2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5E9BFCF-9D56-49F3-A5EC-910E9710A467}"/>
              </a:ext>
            </a:extLst>
          </p:cNvPr>
          <p:cNvSpPr/>
          <p:nvPr/>
        </p:nvSpPr>
        <p:spPr>
          <a:xfrm>
            <a:off x="973683" y="4678456"/>
            <a:ext cx="3004741" cy="338554"/>
          </a:xfrm>
          <a:prstGeom prst="rect">
            <a:avLst/>
          </a:prstGeom>
          <a:solidFill>
            <a:srgbClr val="F3F3F4"/>
          </a:solidFill>
        </p:spPr>
        <p:txBody>
          <a:bodyPr wrap="square">
            <a:spAutoFit/>
          </a:bodyPr>
          <a:lstStyle/>
          <a:p>
            <a:r>
              <a:rPr lang="ru-RU" sz="1600" dirty="0">
                <a:sym typeface="Wingdings" panose="05000000000000000000" pitchFamily="2" charset="2"/>
              </a:rPr>
              <a:t></a:t>
            </a:r>
            <a:r>
              <a:rPr lang="en-US" sz="1600" dirty="0">
                <a:sym typeface="Wingdings" panose="05000000000000000000" pitchFamily="2" charset="2"/>
              </a:rPr>
              <a:t> </a:t>
            </a:r>
            <a:r>
              <a:rPr lang="ru-RU" sz="1200" dirty="0">
                <a:sym typeface="Wingdings" panose="05000000000000000000" pitchFamily="2" charset="2"/>
              </a:rPr>
              <a:t>от не сердечно-сосудистых причин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E97B668-4B4D-4867-96B3-6236A194C3E0}"/>
              </a:ext>
            </a:extLst>
          </p:cNvPr>
          <p:cNvSpPr/>
          <p:nvPr/>
        </p:nvSpPr>
        <p:spPr>
          <a:xfrm>
            <a:off x="954644" y="5010241"/>
            <a:ext cx="2718161" cy="82079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ru-RU" sz="1200" dirty="0">
                <a:sym typeface="Wingdings" panose="05000000000000000000" pitchFamily="2" charset="2"/>
              </a:rPr>
              <a:t>Почечная конечная точка, без сердечной смерти</a:t>
            </a:r>
            <a:endParaRPr lang="ru-RU" sz="1050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6433733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D4C92E-0FA6-4563-A75F-872CA5A955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0823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D4C92E-0FA6-4563-A75F-872CA5A95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694981E-5870-47D9-81E4-B7718BDC8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539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B34355-66E5-4ED9-84D9-063B1DB58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DECLARE–TIMI 58</a:t>
            </a:r>
            <a:r>
              <a:rPr lang="ru-RU" dirty="0"/>
              <a:t>: Вторичные конечные точки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0E3384-9EB5-4EBC-AFFF-8BE6C2C43030}"/>
              </a:ext>
            </a:extLst>
          </p:cNvPr>
          <p:cNvSpPr/>
          <p:nvPr/>
        </p:nvSpPr>
        <p:spPr>
          <a:xfrm>
            <a:off x="609601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	</a:t>
            </a:r>
            <a:r>
              <a:rPr lang="en-US" sz="1100" dirty="0" err="1"/>
              <a:t>Wiviott</a:t>
            </a:r>
            <a:r>
              <a:rPr lang="en-US" sz="1100" dirty="0"/>
              <a:t>, S. D. </a:t>
            </a:r>
            <a:r>
              <a:rPr lang="en-US" sz="1100" i="1" dirty="0"/>
              <a:t>et al.</a:t>
            </a:r>
            <a:r>
              <a:rPr lang="en-US" sz="1100" dirty="0"/>
              <a:t> Dapagliflozin and Cardiovascular Outcomes in Type 2 Diabetes. </a:t>
            </a:r>
            <a:r>
              <a:rPr lang="en-US" sz="1100" i="1" dirty="0"/>
              <a:t>N. Engl. J. Med.</a:t>
            </a:r>
            <a:r>
              <a:rPr lang="en-US" sz="1100" dirty="0"/>
              <a:t> (2018). doi:10.1056/NEJMoa1812389</a:t>
            </a:r>
            <a:endParaRPr lang="ru-RU" sz="11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2348F88-6E99-4F27-9520-892E07D3D6D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1" y="1400846"/>
            <a:ext cx="11343461" cy="5085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A8C1A534-363D-49AA-A3D5-29DDEA702432}"/>
              </a:ext>
            </a:extLst>
          </p:cNvPr>
          <p:cNvSpPr/>
          <p:nvPr/>
        </p:nvSpPr>
        <p:spPr>
          <a:xfrm>
            <a:off x="609601" y="1028620"/>
            <a:ext cx="7233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С смерть, или госпитализация по поводу СН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3281F7-1F14-45A7-A239-11CAEF6D647F}"/>
              </a:ext>
            </a:extLst>
          </p:cNvPr>
          <p:cNvSpPr/>
          <p:nvPr/>
        </p:nvSpPr>
        <p:spPr>
          <a:xfrm>
            <a:off x="737632" y="2171415"/>
            <a:ext cx="2718161" cy="275108"/>
          </a:xfrm>
          <a:prstGeom prst="rect">
            <a:avLst/>
          </a:prstGeom>
          <a:solidFill>
            <a:srgbClr val="F3F3F4"/>
          </a:solidFill>
        </p:spPr>
        <p:txBody>
          <a:bodyPr wrap="square">
            <a:noAutofit/>
          </a:bodyPr>
          <a:lstStyle/>
          <a:p>
            <a:r>
              <a:rPr lang="ru-RU" sz="1600" dirty="0">
                <a:sym typeface="Wingdings" panose="05000000000000000000" pitchFamily="2" charset="2"/>
              </a:rPr>
              <a:t>Вся популяция</a:t>
            </a:r>
            <a:endParaRPr lang="ru-RU" sz="1200" dirty="0">
              <a:sym typeface="Wingdings" panose="05000000000000000000" pitchFamily="2" charset="2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B35051-DCD3-48E5-A94D-CF1AF78E8853}"/>
              </a:ext>
            </a:extLst>
          </p:cNvPr>
          <p:cNvSpPr/>
          <p:nvPr/>
        </p:nvSpPr>
        <p:spPr>
          <a:xfrm>
            <a:off x="652860" y="2514503"/>
            <a:ext cx="2718161" cy="25682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ru-RU" sz="1200" dirty="0">
                <a:sym typeface="Wingdings" panose="05000000000000000000" pitchFamily="2" charset="2"/>
              </a:rPr>
              <a:t>Группа риска</a:t>
            </a:r>
            <a:endParaRPr lang="ru-RU" sz="1050" dirty="0">
              <a:sym typeface="Wingdings" panose="05000000000000000000" pitchFamily="2" charset="2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207E47E-02FE-4245-90A1-A89401266E92}"/>
              </a:ext>
            </a:extLst>
          </p:cNvPr>
          <p:cNvSpPr/>
          <p:nvPr/>
        </p:nvSpPr>
        <p:spPr>
          <a:xfrm>
            <a:off x="741000" y="2803868"/>
            <a:ext cx="2630021" cy="249322"/>
          </a:xfrm>
          <a:prstGeom prst="rect">
            <a:avLst/>
          </a:prstGeom>
          <a:solidFill>
            <a:srgbClr val="F3F3F4"/>
          </a:solidFill>
        </p:spPr>
        <p:txBody>
          <a:bodyPr wrap="square">
            <a:noAutofit/>
          </a:bodyPr>
          <a:lstStyle/>
          <a:p>
            <a:r>
              <a:rPr lang="ru-RU" sz="1600" dirty="0">
                <a:sym typeface="Wingdings" panose="05000000000000000000" pitchFamily="2" charset="2"/>
              </a:rPr>
              <a:t>ССЗ</a:t>
            </a:r>
            <a:endParaRPr lang="ru-RU" sz="1200" dirty="0">
              <a:sym typeface="Wingdings" panose="05000000000000000000" pitchFamily="2" charset="2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71CDDC-4AF8-4FC5-BF8B-30A2C159F092}"/>
              </a:ext>
            </a:extLst>
          </p:cNvPr>
          <p:cNvSpPr/>
          <p:nvPr/>
        </p:nvSpPr>
        <p:spPr>
          <a:xfrm>
            <a:off x="741000" y="3114413"/>
            <a:ext cx="2718161" cy="25682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ru-RU" sz="1200" dirty="0">
                <a:sym typeface="Wingdings" panose="05000000000000000000" pitchFamily="2" charset="2"/>
              </a:rPr>
              <a:t>Факторы риска</a:t>
            </a:r>
            <a:endParaRPr lang="ru-RU" sz="1050" dirty="0">
              <a:sym typeface="Wingdings" panose="05000000000000000000" pitchFamily="2" charset="2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B265085-FD09-4C63-BB29-B22B2DF788EE}"/>
              </a:ext>
            </a:extLst>
          </p:cNvPr>
          <p:cNvSpPr/>
          <p:nvPr/>
        </p:nvSpPr>
        <p:spPr>
          <a:xfrm>
            <a:off x="740999" y="3381629"/>
            <a:ext cx="3004741" cy="256822"/>
          </a:xfrm>
          <a:prstGeom prst="rect">
            <a:avLst/>
          </a:prstGeom>
          <a:solidFill>
            <a:srgbClr val="F3F3F4"/>
          </a:solidFill>
        </p:spPr>
        <p:txBody>
          <a:bodyPr wrap="square">
            <a:noAutofit/>
          </a:bodyPr>
          <a:lstStyle/>
          <a:p>
            <a:r>
              <a:rPr lang="ru-RU" sz="1600" dirty="0">
                <a:sym typeface="Wingdings" panose="05000000000000000000" pitchFamily="2" charset="2"/>
              </a:rPr>
              <a:t>СН</a:t>
            </a:r>
            <a:endParaRPr lang="ru-RU" sz="1200" dirty="0">
              <a:sym typeface="Wingdings" panose="05000000000000000000" pitchFamily="2" charset="2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6A95D79-C1EB-451B-9277-428FC21B07E3}"/>
              </a:ext>
            </a:extLst>
          </p:cNvPr>
          <p:cNvSpPr/>
          <p:nvPr/>
        </p:nvSpPr>
        <p:spPr>
          <a:xfrm>
            <a:off x="740998" y="4248755"/>
            <a:ext cx="3004741" cy="25682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ru-RU" sz="1600" dirty="0">
                <a:sym typeface="Wingdings" panose="05000000000000000000" pitchFamily="2" charset="2"/>
              </a:rPr>
              <a:t>СКФ</a:t>
            </a:r>
            <a:endParaRPr lang="ru-RU" sz="1200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8932414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D4C92E-0FA6-4563-A75F-872CA5A955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1333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D4C92E-0FA6-4563-A75F-872CA5A95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694981E-5870-47D9-81E4-B7718BDC8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539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B34355-66E5-4ED9-84D9-063B1DB58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DECLARE–TIMI 58</a:t>
            </a:r>
            <a:r>
              <a:rPr lang="ru-RU" dirty="0"/>
              <a:t>: Вторичные конечные точки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0E3384-9EB5-4EBC-AFFF-8BE6C2C43030}"/>
              </a:ext>
            </a:extLst>
          </p:cNvPr>
          <p:cNvSpPr/>
          <p:nvPr/>
        </p:nvSpPr>
        <p:spPr>
          <a:xfrm>
            <a:off x="609601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	</a:t>
            </a:r>
            <a:r>
              <a:rPr lang="en-US" sz="1100" dirty="0" err="1"/>
              <a:t>Wiviott</a:t>
            </a:r>
            <a:r>
              <a:rPr lang="en-US" sz="1100" dirty="0"/>
              <a:t>, S. D. </a:t>
            </a:r>
            <a:r>
              <a:rPr lang="en-US" sz="1100" i="1" dirty="0"/>
              <a:t>et al.</a:t>
            </a:r>
            <a:r>
              <a:rPr lang="en-US" sz="1100" dirty="0"/>
              <a:t> Dapagliflozin and Cardiovascular Outcomes in Type 2 Diabetes. </a:t>
            </a:r>
            <a:r>
              <a:rPr lang="en-US" sz="1100" i="1" dirty="0"/>
              <a:t>N. Engl. J. Med.</a:t>
            </a:r>
            <a:r>
              <a:rPr lang="en-US" sz="1100" dirty="0"/>
              <a:t> (2018). doi:10.1056/NEJMoa1812389</a:t>
            </a:r>
            <a:endParaRPr lang="ru-RU" sz="11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290F40-BE8F-4FE6-8981-B0193E5C6B1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000" y="1491536"/>
            <a:ext cx="11024436" cy="486987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A141673-779F-48F9-8F1C-105CDDF6AD04}"/>
              </a:ext>
            </a:extLst>
          </p:cNvPr>
          <p:cNvSpPr/>
          <p:nvPr/>
        </p:nvSpPr>
        <p:spPr>
          <a:xfrm>
            <a:off x="609601" y="989370"/>
            <a:ext cx="7979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MAC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903033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9CCF61C-69E8-4B3E-A800-21F5C675E1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3179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9CCF61C-69E8-4B3E-A800-21F5C675E1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A32F437-AB87-4884-8352-CDCEC3BD3FB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539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A925FD2-B429-47C9-A54C-CD08078FC3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CLARE–TIMI 58</a:t>
            </a:r>
            <a:r>
              <a:rPr lang="ru-RU" dirty="0"/>
              <a:t>: показатели безопасности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85A0DEA0-7770-4EC8-8C1F-1BE1236505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975652"/>
              </p:ext>
            </p:extLst>
          </p:nvPr>
        </p:nvGraphicFramePr>
        <p:xfrm>
          <a:off x="381000" y="1224000"/>
          <a:ext cx="11475001" cy="5137636"/>
        </p:xfrm>
        <a:graphic>
          <a:graphicData uri="http://schemas.openxmlformats.org/drawingml/2006/table">
            <a:tbl>
              <a:tblPr bandRow="1">
                <a:tableStyleId>{BC89EF96-8CEA-46FF-86C4-4CE0E7609802}</a:tableStyleId>
              </a:tblPr>
              <a:tblGrid>
                <a:gridCol w="4308301">
                  <a:extLst>
                    <a:ext uri="{9D8B030D-6E8A-4147-A177-3AD203B41FA5}">
                      <a16:colId xmlns:a16="http://schemas.microsoft.com/office/drawing/2014/main" val="3194209580"/>
                    </a:ext>
                  </a:extLst>
                </a:gridCol>
                <a:gridCol w="3500498">
                  <a:extLst>
                    <a:ext uri="{9D8B030D-6E8A-4147-A177-3AD203B41FA5}">
                      <a16:colId xmlns:a16="http://schemas.microsoft.com/office/drawing/2014/main" val="2550331998"/>
                    </a:ext>
                  </a:extLst>
                </a:gridCol>
                <a:gridCol w="2237004">
                  <a:extLst>
                    <a:ext uri="{9D8B030D-6E8A-4147-A177-3AD203B41FA5}">
                      <a16:colId xmlns:a16="http://schemas.microsoft.com/office/drawing/2014/main" val="149479258"/>
                    </a:ext>
                  </a:extLst>
                </a:gridCol>
                <a:gridCol w="1429198">
                  <a:extLst>
                    <a:ext uri="{9D8B030D-6E8A-4147-A177-3AD203B41FA5}">
                      <a16:colId xmlns:a16="http://schemas.microsoft.com/office/drawing/2014/main" val="2497626088"/>
                    </a:ext>
                  </a:extLst>
                </a:gridCol>
              </a:tblGrid>
              <a:tr h="1086599">
                <a:tc>
                  <a:txBody>
                    <a:bodyPr/>
                    <a:lstStyle/>
                    <a:p>
                      <a:pPr algn="l" fontAlgn="t"/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2000" u="none" strike="noStrike" dirty="0">
                          <a:effectLst/>
                        </a:rPr>
                        <a:t>Дапа</a:t>
                      </a:r>
                      <a:r>
                        <a:rPr lang="pt-BR" sz="2000" u="none" strike="noStrike" dirty="0">
                          <a:effectLst/>
                        </a:rPr>
                        <a:t>              </a:t>
                      </a:r>
                      <a:r>
                        <a:rPr lang="ru-RU" sz="2000" u="none" strike="noStrike" dirty="0">
                          <a:effectLst/>
                        </a:rPr>
                        <a:t>Плацебо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>
                          <a:effectLst/>
                        </a:rPr>
                        <a:t>(N = 8574)             (N = 8569)</a:t>
                      </a:r>
                      <a:br>
                        <a:rPr lang="pt-BR" sz="2000" u="none" strike="noStrike" dirty="0">
                          <a:effectLst/>
                        </a:rPr>
                      </a:br>
                      <a:r>
                        <a:rPr lang="pt-BR" sz="2000" u="none" strike="noStrike" dirty="0">
                          <a:effectLst/>
                        </a:rPr>
                        <a:t>no. (%)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effectLst/>
                        </a:rPr>
                        <a:t>ОР</a:t>
                      </a:r>
                      <a:r>
                        <a:rPr lang="en-GB" sz="1800" u="none" strike="noStrike" dirty="0">
                          <a:effectLst/>
                        </a:rPr>
                        <a:t> (95% CI)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800" u="none" strike="noStrike" dirty="0">
                          <a:effectLst/>
                        </a:rPr>
                        <a:t>P Value</a:t>
                      </a:r>
                      <a:endParaRPr lang="en-GB" sz="1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859823503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НЯ</a:t>
                      </a:r>
                      <a:endParaRPr lang="en-GB" sz="1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2925 (34.1)        3100 (36.2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0.91 (0.87–0.96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&lt;0.001</a:t>
                      </a:r>
                      <a:endParaRPr lang="ru-RU" sz="1800" b="0" i="0" u="none" strike="noStrike" dirty="0">
                        <a:solidFill>
                          <a:srgbClr val="C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756010432"/>
                  </a:ext>
                </a:extLst>
              </a:tr>
              <a:tr h="355673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</a:rPr>
                        <a:t>НЯ, потребовавшие выхода из </a:t>
                      </a:r>
                      <a:r>
                        <a:rPr lang="ru-RU" sz="1800" u="none" strike="noStrike" dirty="0" err="1">
                          <a:effectLst/>
                        </a:rPr>
                        <a:t>исслед</a:t>
                      </a:r>
                      <a:r>
                        <a:rPr lang="ru-RU" sz="1800" u="none" strike="noStrike" dirty="0">
                          <a:effectLst/>
                        </a:rPr>
                        <a:t>.</a:t>
                      </a:r>
                      <a:endParaRPr 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693 (8.1)            592 (6.9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effectLst/>
                        </a:rPr>
                        <a:t>1.15 (1.03–1.28)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0.01</a:t>
                      </a:r>
                      <a:endParaRPr lang="ru-RU" sz="1800" b="0" i="0" u="none" strike="noStrike" dirty="0">
                        <a:solidFill>
                          <a:srgbClr val="C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4085979731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</a:rPr>
                        <a:t>Большие гипогликемии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58 (0.7)               83 (1.0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effectLst/>
                        </a:rPr>
                        <a:t>0.68 (0.49–0.95)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solidFill>
                            <a:srgbClr val="C00000"/>
                          </a:solidFill>
                          <a:effectLst/>
                        </a:rPr>
                        <a:t>0.02</a:t>
                      </a:r>
                      <a:endParaRPr lang="ru-RU" sz="1800" b="0" i="0" u="none" strike="noStrike">
                        <a:solidFill>
                          <a:srgbClr val="C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224961690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</a:rPr>
                        <a:t>Кетоацидоз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27 (0.3)               12 (0.1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effectLst/>
                        </a:rPr>
                        <a:t>2.18 (1.10–4.30)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0.02</a:t>
                      </a:r>
                      <a:endParaRPr lang="ru-RU" sz="1800" b="0" i="0" u="none" strike="noStrike" dirty="0">
                        <a:solidFill>
                          <a:srgbClr val="C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448271880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</a:rPr>
                        <a:t>Ампутации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123 (1.4)            113 (1.3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effectLst/>
                        </a:rPr>
                        <a:t>1.09 (0.84–1.40)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0.53</a:t>
                      </a:r>
                      <a:endParaRPr lang="ru-RU" sz="1800" b="0" i="0" u="none" strike="noStrike">
                        <a:solidFill>
                          <a:srgbClr val="231F2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519555578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</a:rPr>
                        <a:t>Переломы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457 (5.3)            440 (5.1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1.04 (0.91–1.18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0.59</a:t>
                      </a:r>
                      <a:endParaRPr lang="ru-RU" sz="1800" b="0" i="0" u="none" strike="noStrike">
                        <a:solidFill>
                          <a:srgbClr val="231F2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847124860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</a:rPr>
                        <a:t>Симптомы гиповолемии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213 (2.5)            207 (2.4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1.00 (0.83–1.21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0.99</a:t>
                      </a:r>
                      <a:endParaRPr lang="ru-RU" sz="1800" b="0" i="0" u="none" strike="noStrike">
                        <a:solidFill>
                          <a:srgbClr val="231F2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154031258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</a:rPr>
                        <a:t>ОПН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125 (1.5)            175 (2.0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effectLst/>
                        </a:rPr>
                        <a:t>0.69 (0.55–0.87)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0.002</a:t>
                      </a:r>
                      <a:endParaRPr lang="ru-RU" sz="1800" b="0" i="0" u="none" strike="noStrike" dirty="0">
                        <a:solidFill>
                          <a:srgbClr val="C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3219856257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</a:rPr>
                        <a:t>Инфекции генитальные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76 (0.9)                 9 (0.1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effectLst/>
                        </a:rPr>
                        <a:t>8.36 (4.19–16.68)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&lt;0.001</a:t>
                      </a:r>
                      <a:endParaRPr lang="ru-RU" sz="1800" b="0" i="0" u="none" strike="noStrike" dirty="0">
                        <a:solidFill>
                          <a:srgbClr val="C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903591329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</a:rPr>
                        <a:t>Инфекции МВП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127 (1.5)            133 (1.6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effectLst/>
                        </a:rPr>
                        <a:t>0.93 (0.73–1.18)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0.54</a:t>
                      </a:r>
                      <a:endParaRPr lang="ru-RU" sz="1800" b="0" i="0" u="none" strike="noStrike">
                        <a:solidFill>
                          <a:srgbClr val="231F2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8376553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к</a:t>
                      </a:r>
                      <a:endParaRPr lang="en-GB" sz="1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481 (5.6)            486 (5.7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effectLst/>
                        </a:rPr>
                        <a:t>0.99 (0.87–1.12)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0.83</a:t>
                      </a:r>
                      <a:endParaRPr lang="ru-RU" sz="1800" b="0" i="0" u="none" strike="noStrike">
                        <a:solidFill>
                          <a:srgbClr val="231F2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3969523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к мочевого пузыря</a:t>
                      </a:r>
                      <a:endParaRPr lang="en-GB" sz="18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26 (0.3)               45 (0.5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effectLst/>
                        </a:rPr>
                        <a:t>0.57 (0.35–0.93)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solidFill>
                            <a:srgbClr val="C00000"/>
                          </a:solidFill>
                          <a:effectLst/>
                        </a:rPr>
                        <a:t>0.02</a:t>
                      </a:r>
                      <a:endParaRPr lang="ru-RU" sz="1800" b="0" i="0" u="none" strike="noStrike" dirty="0">
                        <a:solidFill>
                          <a:srgbClr val="C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2039187462"/>
                  </a:ext>
                </a:extLst>
              </a:tr>
              <a:tr h="307947">
                <a:tc>
                  <a:txBody>
                    <a:bodyPr/>
                    <a:lstStyle/>
                    <a:p>
                      <a:pPr algn="l" fontAlgn="t"/>
                      <a:r>
                        <a:rPr lang="ru-RU" sz="1800" u="none" strike="noStrike" dirty="0">
                          <a:effectLst/>
                        </a:rPr>
                        <a:t>РМЖ</a:t>
                      </a:r>
                      <a:endParaRPr lang="en-GB" sz="1800" b="0" i="0" u="none" strike="noStrike" dirty="0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36 (0.4)               35 (0.4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>
                          <a:effectLst/>
                        </a:rPr>
                        <a:t>1.02 (0.64–1.63)</a:t>
                      </a:r>
                      <a:endParaRPr lang="ru-RU" sz="1800" b="0" i="0" u="none" strike="noStrike">
                        <a:solidFill>
                          <a:srgbClr val="00000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800" u="none" strike="noStrike" dirty="0">
                          <a:effectLst/>
                        </a:rPr>
                        <a:t>0.92</a:t>
                      </a:r>
                      <a:endParaRPr lang="ru-RU" sz="1800" b="0" i="0" u="none" strike="noStrike" dirty="0">
                        <a:solidFill>
                          <a:srgbClr val="231F20"/>
                        </a:solidFill>
                        <a:effectLst/>
                        <a:latin typeface="Microsoft Sans Serif" panose="020B0604020202020204" pitchFamily="34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654240726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AACF8A63-5E22-45AF-948C-A21C6B4DC044}"/>
              </a:ext>
            </a:extLst>
          </p:cNvPr>
          <p:cNvSpPr/>
          <p:nvPr/>
        </p:nvSpPr>
        <p:spPr>
          <a:xfrm>
            <a:off x="609601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	</a:t>
            </a:r>
            <a:r>
              <a:rPr lang="en-US" sz="1100" dirty="0" err="1"/>
              <a:t>Wiviott</a:t>
            </a:r>
            <a:r>
              <a:rPr lang="en-US" sz="1100" dirty="0"/>
              <a:t>, S. D. </a:t>
            </a:r>
            <a:r>
              <a:rPr lang="en-US" sz="1100" i="1" dirty="0"/>
              <a:t>et al.</a:t>
            </a:r>
            <a:r>
              <a:rPr lang="en-US" sz="1100" dirty="0"/>
              <a:t> Dapagliflozin and Cardiovascular Outcomes in Type 2 Diabetes. </a:t>
            </a:r>
            <a:r>
              <a:rPr lang="en-US" sz="1100" i="1" dirty="0"/>
              <a:t>N. Engl. J. Med.</a:t>
            </a:r>
            <a:r>
              <a:rPr lang="en-US" sz="1100" dirty="0"/>
              <a:t> (2018). doi:10.1056/NEJMoa1812389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1378538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A4172F8-E949-4478-A91D-1FA604D7A4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9129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29" imgW="362" imgH="362" progId="TCLayout.ActiveDocument.1">
                  <p:embed/>
                </p:oleObj>
              </mc:Choice>
              <mc:Fallback>
                <p:oleObj name="think-cell Slide" r:id="rId29" imgW="362" imgH="36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A4172F8-E949-4478-A91D-1FA604D7A4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FF47EF2-418E-4B85-A4B6-E998C240FA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dirty="0">
              <a:sym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3CFA5F0-8353-478D-AA04-5E04C4644B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dirty="0"/>
              <a:t>DECLARE–TIMI 58</a:t>
            </a:r>
            <a:r>
              <a:rPr lang="en-US" sz="2400" dirty="0"/>
              <a:t> vs EMPAREG</a:t>
            </a:r>
            <a:endParaRPr lang="ru-RU" dirty="0"/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E2A95B99-C883-4C43-856D-709B9C07604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44479007"/>
              </p:ext>
            </p:extLst>
          </p:nvPr>
        </p:nvGraphicFramePr>
        <p:xfrm>
          <a:off x="2593975" y="1814513"/>
          <a:ext cx="6530975" cy="41640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B1D3804-3A9D-4F29-B7A7-31639CE5E1A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8620125" y="3211513"/>
            <a:ext cx="46513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E04FD208-4450-47D9-ABFD-00A5EEC1293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653088" y="2703513"/>
            <a:ext cx="34321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2A93FCE-89FC-404C-8374-4D5114355810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9042400" y="2700338"/>
            <a:ext cx="0" cy="5143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F660965D-DDEB-4379-A15C-D552B1337DEB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4060825" y="1751013"/>
            <a:ext cx="0" cy="1936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4EC44C9D-0612-43CC-8FA8-91F27778540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4060825" y="1751013"/>
            <a:ext cx="106045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527127A3-C53B-42A8-B4F3-B884970DADE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5121275" y="1751013"/>
            <a:ext cx="0" cy="6699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89A096D-0B35-49CC-AD56-B9AD12FE5AE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7029450" y="2471738"/>
            <a:ext cx="0" cy="2778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5C864BBA-F2C3-479D-A186-C539921499CE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7029450" y="2471738"/>
            <a:ext cx="1058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5FF5B7D1-52E7-4806-8415-D0A72AD93765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8088313" y="2471738"/>
            <a:ext cx="0" cy="457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EFF5A547-DFBD-482B-8D59-78DD3CD63ED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924800" y="2967038"/>
            <a:ext cx="3286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E9C824-3FEF-429A-B0E6-1A8D718D0DBA}" type="datetime'''''''''''''''''8'',8''''''''''''''''''''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,8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034550DF-B1AC-4C77-A513-42093F40312D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662237" y="1474788"/>
            <a:ext cx="8905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600" dirty="0">
                <a:latin typeface="+mn-lt"/>
                <a:sym typeface="+mn-lt"/>
              </a:rPr>
              <a:t>MACE (%)</a:t>
            </a:r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B48A5C5-E1A8-4582-AE8D-54B1C7F0ED49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843338" y="1982788"/>
            <a:ext cx="4365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AE27CF-32ED-471E-858E-765D4BC73050}" type="datetime'''''1''''''''''''2'''''',''''''''''1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,1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2508AF-3F31-4A2E-8A0C-2FDD9C02EF92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4124325" y="5902325"/>
            <a:ext cx="9334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17726C-2CD8-4EFA-A1D1-8FC6D1C14DDD}" type="datetime'''''E''''''''M''''''P''''''''''''''A''R''''''''''E''G''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EMPAREG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B6F55E16-C05D-4AA5-8C64-F90E4C47164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832600" y="5902325"/>
            <a:ext cx="14525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FCDEC6-2DEE-4A33-8D27-5917DFC643DD}" type="datetime'''''''''D''EC''''L''''''''A''''''R''''''''E''''–T''IM''I'' 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DECLARE–TIMI 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48C540D8-3868-4431-99CE-EAAF89A6ECE3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903788" y="2459038"/>
            <a:ext cx="4365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2EF6F1-61E8-4C98-A2F3-0232C7EC7493}" type="datetime'''''''''''''''''''''1''''''''0'',''''''''''''''5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,5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9C263F6-C941-43FA-9E97-093978C3C44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865938" y="2787650"/>
            <a:ext cx="3286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75B5E8-EAE7-44E2-92A8-E56B82F2A837}" type="datetime'''''''''9'''''''',''''''''''''''''''''4''''''''''''''''''''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,4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64CBBDD1-798E-4DC9-BEB6-653D415EA61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132888" y="2647950"/>
            <a:ext cx="931863" cy="62071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36F8D00-D25A-4D3C-BF8B-7CD8E89126B6}" type="datetime'''''''''''''''''''+''''''''''''''''1,''''7'''''''''''''''''''">
              <a:rPr lang="ru-RU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,7</a:t>
            </a:fld>
            <a:br>
              <a:rPr lang="ru-RU" altLang="en-US" sz="1600" b="1" dirty="0">
                <a:latin typeface="+mn-lt"/>
                <a:sym typeface="+mn-lt"/>
              </a:rPr>
            </a:br>
            <a:r>
              <a:rPr lang="ru-RU" altLang="en-US" sz="1600" b="1" dirty="0">
                <a:latin typeface="+mn-lt"/>
                <a:sym typeface="+mn-lt"/>
              </a:rPr>
              <a:t>(</a:t>
            </a:r>
            <a:fld id="{D826D91C-F890-4A67-85C5-37EF910D5143}" type="datetime'''''+''''''''''''''''1''''''''''''''''9''''%'''''''">
              <a:rPr lang="ru-RU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9%</a:t>
            </a:fld>
            <a:r>
              <a:rPr lang="ru-RU" altLang="en-US" sz="1600" b="1" dirty="0">
                <a:latin typeface="+mn-lt"/>
                <a:sym typeface="+mn-lt"/>
              </a:rPr>
              <a:t>)</a:t>
            </a:r>
            <a:endParaRPr lang="ru-RU" sz="1600" b="1" dirty="0">
              <a:latin typeface="+mn-lt"/>
              <a:sym typeface="+mn-lt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7A1C5147-74B4-43E4-B7F3-C82DF7EA1E6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4240213" y="1595438"/>
            <a:ext cx="703263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/>
              <a:t>-14%</a:t>
            </a:r>
            <a:endParaRPr lang="ru-RU" sz="1600" b="1" dirty="0">
              <a:latin typeface="+mn-lt"/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B62C4451-417C-4F68-B0E4-C1B2ABDD2D9A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288212" y="2316162"/>
            <a:ext cx="541338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1600" b="1" dirty="0"/>
              <a:t>-7%</a:t>
            </a:r>
            <a:endParaRPr lang="ru-RU" sz="1600" b="1" dirty="0">
              <a:latin typeface="+mn-lt"/>
              <a:sym typeface="+mn-lt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999FB91-58C4-4E03-A9CC-CA1B25AEFFA8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132513" y="1395413"/>
            <a:ext cx="285750" cy="21431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3F45B15-5F5D-4E76-9A24-35E0BB82DEF6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6132513" y="1665288"/>
            <a:ext cx="285750" cy="21431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748200B-5835-478B-AA70-94956B02F74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469063" y="1389063"/>
            <a:ext cx="80803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64B0BAE-AFA8-4166-B4B8-301598DB170B}" type="datetime'''''П''''л''''''''''''''''''''''а''''''''''''''''ц''е''б''''о'">
              <a:rPr lang="ru-RU" altLang="en-US" sz="1600" smtClean="0">
                <a:latin typeface="+mn-lt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лацебо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E65EEF3-E518-453D-9A34-987E4443B558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469063" y="1658938"/>
            <a:ext cx="22098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A885CEAB-7D72-435A-9662-29CC2D44F654}" type="datetime'И''''с''''''следу''''''''''е''м''ы''й'''' п''ре''пар''а''''т'">
              <a:rPr lang="ru-RU" altLang="en-US" sz="1600" smtClean="0">
                <a:latin typeface="+mn-lt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Исследуемый препарат</a:t>
            </a:fld>
            <a:endParaRPr lang="ru-RU" sz="1600" dirty="0">
              <a:latin typeface="+mn-lt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756918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MPA-REG Outcome </a:t>
            </a:r>
            <a:r>
              <a:rPr lang="ru-RU" b="1" dirty="0"/>
              <a:t>          </a:t>
            </a:r>
            <a:r>
              <a:rPr lang="en-US" b="1" dirty="0"/>
              <a:t>vs 		LEADER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26000" y="6211422"/>
            <a:ext cx="3699356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/>
              <a:t>Zinman, B. </a:t>
            </a:r>
            <a:r>
              <a:rPr lang="en-US" sz="900" i="1" dirty="0"/>
              <a:t>et al.</a:t>
            </a:r>
            <a:r>
              <a:rPr lang="en-US" sz="900" dirty="0"/>
              <a:t> </a:t>
            </a:r>
            <a:r>
              <a:rPr lang="en-US" sz="900" dirty="0" err="1"/>
              <a:t>Empagliflozin</a:t>
            </a:r>
            <a:r>
              <a:rPr lang="en-US" sz="900" dirty="0"/>
              <a:t>, Cardiovascular Outcomes, and Mortality in Type 2 Diabetes. </a:t>
            </a:r>
            <a:r>
              <a:rPr lang="en-US" sz="900" i="1" dirty="0"/>
              <a:t>New England Journal of Medicine</a:t>
            </a:r>
            <a:r>
              <a:rPr lang="en-US" sz="900" dirty="0"/>
              <a:t> 150917085022006 (2015). doi:10.1056/NEJMoa1504720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9260-4640-46FA-9BEC-1CA762B2F5B1}" type="slidenum">
              <a:rPr lang="ru-RU" smtClean="0"/>
              <a:t>25</a:t>
            </a:fld>
            <a:endParaRPr lang="ru-R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E1EEF6A-8189-481D-AAB3-A6F101E8B32C}"/>
              </a:ext>
            </a:extLst>
          </p:cNvPr>
          <p:cNvSpPr/>
          <p:nvPr/>
        </p:nvSpPr>
        <p:spPr>
          <a:xfrm>
            <a:off x="608913" y="1727892"/>
            <a:ext cx="260708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се пациенты имели сердечно-сосудистые заболевания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ED91FB-9093-43CE-8992-31E8092D5E5A}"/>
              </a:ext>
            </a:extLst>
          </p:cNvPr>
          <p:cNvSpPr/>
          <p:nvPr/>
        </p:nvSpPr>
        <p:spPr>
          <a:xfrm>
            <a:off x="4060956" y="1700892"/>
            <a:ext cx="369935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СЗ в анамнезе </a:t>
            </a:r>
          </a:p>
          <a:p>
            <a:r>
              <a:rPr lang="ru-RU" dirty="0"/>
              <a:t>или </a:t>
            </a:r>
          </a:p>
          <a:p>
            <a:r>
              <a:rPr lang="ru-RU" dirty="0"/>
              <a:t>≥50 лет </a:t>
            </a:r>
            <a:r>
              <a:rPr lang="ru-RU" dirty="0">
                <a:solidFill>
                  <a:srgbClr val="C00000"/>
                </a:solidFill>
              </a:rPr>
              <a:t>+ 2 или более </a:t>
            </a:r>
            <a:r>
              <a:rPr lang="ru-RU" dirty="0"/>
              <a:t>из следующих факторов риска: 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продолжительность диабета не менее 10 лет, 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САД ≥140 мм рт. ст., на 1 или более антигипертензивных препаратах, 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курение в настоящее время, 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микроальбуминурия или </a:t>
            </a:r>
            <a:r>
              <a:rPr lang="ru-RU" dirty="0" err="1"/>
              <a:t>макроальбуминурия</a:t>
            </a:r>
            <a:r>
              <a:rPr lang="ru-RU" dirty="0"/>
              <a:t>, </a:t>
            </a:r>
          </a:p>
          <a:p>
            <a:pPr marL="342900" indent="-342900">
              <a:buFont typeface="+mj-lt"/>
              <a:buAutoNum type="arabicPeriod"/>
            </a:pPr>
            <a:r>
              <a:rPr lang="ru-RU" dirty="0"/>
              <a:t>Уровень ЛПВП </a:t>
            </a:r>
            <a:r>
              <a:rPr lang="ru-RU" dirty="0">
                <a:sym typeface="Wingdings" panose="05000000000000000000" pitchFamily="2" charset="2"/>
              </a:rPr>
              <a:t>≤</a:t>
            </a:r>
            <a:r>
              <a:rPr lang="ru-RU" dirty="0"/>
              <a:t> 1 ммоль/л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85350C4-75BC-4BC5-888C-A277C96F88C2}"/>
              </a:ext>
            </a:extLst>
          </p:cNvPr>
          <p:cNvSpPr/>
          <p:nvPr/>
        </p:nvSpPr>
        <p:spPr>
          <a:xfrm>
            <a:off x="619767" y="1119568"/>
            <a:ext cx="24605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EMPA-REG Outcome </a:t>
            </a:r>
            <a:endParaRPr lang="ru-RU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5431232-B2BD-49B7-9801-D7B857D2979C}"/>
              </a:ext>
            </a:extLst>
          </p:cNvPr>
          <p:cNvSpPr/>
          <p:nvPr/>
        </p:nvSpPr>
        <p:spPr>
          <a:xfrm>
            <a:off x="5521220" y="1119568"/>
            <a:ext cx="10783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/>
              <a:t>CANVAS</a:t>
            </a:r>
            <a:endParaRPr lang="ru-RU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CFC34A-0C67-408B-B352-377E07FB550D}"/>
              </a:ext>
            </a:extLst>
          </p:cNvPr>
          <p:cNvSpPr/>
          <p:nvPr/>
        </p:nvSpPr>
        <p:spPr>
          <a:xfrm>
            <a:off x="8931000" y="1086269"/>
            <a:ext cx="2223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/>
              <a:t>DECLARE–TIMI 58 </a:t>
            </a:r>
            <a:endParaRPr lang="ru-RU" b="1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3988382-70C5-41BF-8C26-F9C17C7CEFE3}"/>
              </a:ext>
            </a:extLst>
          </p:cNvPr>
          <p:cNvSpPr/>
          <p:nvPr/>
        </p:nvSpPr>
        <p:spPr>
          <a:xfrm>
            <a:off x="8491956" y="1687019"/>
            <a:ext cx="3274044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ССЗ в анамнезе </a:t>
            </a:r>
          </a:p>
          <a:p>
            <a:r>
              <a:rPr lang="ru-RU" dirty="0"/>
              <a:t>или</a:t>
            </a:r>
            <a:endParaRPr lang="en-US" dirty="0"/>
          </a:p>
          <a:p>
            <a:r>
              <a:rPr lang="ru-RU" dirty="0"/>
              <a:t>мужчины в ≥</a:t>
            </a:r>
            <a:r>
              <a:rPr lang="en-US" dirty="0"/>
              <a:t> </a:t>
            </a:r>
            <a:r>
              <a:rPr lang="ru-RU" dirty="0"/>
              <a:t>55 лет </a:t>
            </a:r>
            <a:endParaRPr lang="en-US" dirty="0"/>
          </a:p>
          <a:p>
            <a:r>
              <a:rPr lang="ru-RU" dirty="0"/>
              <a:t>женщины ≥</a:t>
            </a:r>
            <a:r>
              <a:rPr lang="en-US" dirty="0"/>
              <a:t> </a:t>
            </a:r>
            <a:r>
              <a:rPr lang="ru-RU" dirty="0"/>
              <a:t>60 лет</a:t>
            </a:r>
            <a:endParaRPr lang="en-US" dirty="0"/>
          </a:p>
          <a:p>
            <a:r>
              <a:rPr lang="ru-RU" dirty="0">
                <a:solidFill>
                  <a:srgbClr val="C00000"/>
                </a:solidFill>
              </a:rPr>
              <a:t>1 или несколько </a:t>
            </a:r>
            <a:r>
              <a:rPr lang="ru-RU" dirty="0"/>
              <a:t>факторов риска, включая </a:t>
            </a:r>
            <a:endParaRPr lang="en-US" dirty="0"/>
          </a:p>
          <a:p>
            <a:endParaRPr lang="en-US" dirty="0"/>
          </a:p>
          <a:p>
            <a:pPr marL="342900" indent="-342900">
              <a:buAutoNum type="arabicPeriod"/>
            </a:pPr>
            <a:r>
              <a:rPr lang="ru-RU" dirty="0"/>
              <a:t>АГ, </a:t>
            </a:r>
            <a:endParaRPr lang="en-US" dirty="0"/>
          </a:p>
          <a:p>
            <a:pPr marL="342900" indent="-342900">
              <a:buAutoNum type="arabicPeriod"/>
            </a:pPr>
            <a:r>
              <a:rPr lang="ru-RU" dirty="0"/>
              <a:t>ЛПНП </a:t>
            </a:r>
            <a:r>
              <a:rPr lang="en-US" dirty="0"/>
              <a:t>&gt;</a:t>
            </a:r>
            <a:r>
              <a:rPr lang="ru-RU" dirty="0"/>
              <a:t>3,36 ммоль / л или использование </a:t>
            </a:r>
            <a:r>
              <a:rPr lang="ru-RU" dirty="0" err="1"/>
              <a:t>липидоснижающей</a:t>
            </a:r>
            <a:r>
              <a:rPr lang="ru-RU" dirty="0"/>
              <a:t> терапии) </a:t>
            </a:r>
            <a:endParaRPr lang="en-US" dirty="0"/>
          </a:p>
          <a:p>
            <a:pPr marL="342900" indent="-342900">
              <a:buAutoNum type="arabicPeriod"/>
            </a:pPr>
            <a:r>
              <a:rPr lang="ru-RU" dirty="0"/>
              <a:t>Курение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6A2B9624-3585-49EA-86D5-7C3D5D0B8365}"/>
              </a:ext>
            </a:extLst>
          </p:cNvPr>
          <p:cNvCxnSpPr/>
          <p:nvPr/>
        </p:nvCxnSpPr>
        <p:spPr>
          <a:xfrm>
            <a:off x="608913" y="1584000"/>
            <a:ext cx="108870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DE48CD8-49E1-4D10-ACB2-AF476DD6A932}"/>
              </a:ext>
            </a:extLst>
          </p:cNvPr>
          <p:cNvCxnSpPr/>
          <p:nvPr/>
        </p:nvCxnSpPr>
        <p:spPr>
          <a:xfrm>
            <a:off x="3936000" y="1291500"/>
            <a:ext cx="0" cy="4275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C4CAFF5-C85A-4464-A18F-677716DD6E91}"/>
              </a:ext>
            </a:extLst>
          </p:cNvPr>
          <p:cNvCxnSpPr/>
          <p:nvPr/>
        </p:nvCxnSpPr>
        <p:spPr>
          <a:xfrm>
            <a:off x="8256000" y="1270338"/>
            <a:ext cx="0" cy="4275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086001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B1E6472-55F1-412A-8A27-30A466CA6E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9002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B1E6472-55F1-412A-8A27-30A466CA6E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1AD0771-FBC7-420D-8E6B-AC06E86651D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BC7CCB-537B-4B96-85B8-E4AF1351C8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F9096-8ED8-4F14-8F69-892A89853C22}" type="slidenum">
              <a:rPr lang="ru-RU" smtClean="0"/>
              <a:t>26</a:t>
            </a:fld>
            <a:endParaRPr lang="ru-RU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8D8A0-E8A8-4B27-A4A9-31823B68B49D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539242" y="6241572"/>
            <a:ext cx="5471158" cy="492125"/>
          </a:xfrm>
        </p:spPr>
        <p:txBody>
          <a:bodyPr/>
          <a:lstStyle/>
          <a:p>
            <a:endParaRPr lang="ru-RU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6094BAD2-6900-4FFF-9667-ABB5F5B4AB8C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ru-RU" dirty="0"/>
              <a:t>ОПРОС</a:t>
            </a:r>
          </a:p>
        </p:txBody>
      </p:sp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11" name="Add-in 10" title="Mentimeter">
                <a:extLst>
                  <a:ext uri="{FF2B5EF4-FFF2-40B4-BE49-F238E27FC236}">
                    <a16:creationId xmlns:a16="http://schemas.microsoft.com/office/drawing/2014/main" id="{3B456A21-1161-4E2D-B134-969F2FC353F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257693531"/>
                  </p:ext>
                </p:extLst>
              </p:nvPr>
            </p:nvGraphicFramePr>
            <p:xfrm>
              <a:off x="1119951" y="0"/>
              <a:ext cx="11072049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11" name="Add-in 10" title="Mentimeter">
                <a:extLst>
                  <a:ext uri="{FF2B5EF4-FFF2-40B4-BE49-F238E27FC236}">
                    <a16:creationId xmlns:a16="http://schemas.microsoft.com/office/drawing/2014/main" id="{3B456A21-1161-4E2D-B134-969F2FC353F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119951" y="0"/>
                <a:ext cx="11072049" cy="685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8905772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2D0ECDF-B20F-4087-8FBF-D0F319FEAB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44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2D0ECDF-B20F-4087-8FBF-D0F319FEAB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8F48CD-687C-4768-84E9-B6435A3AA05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39241" y="1"/>
            <a:ext cx="10652760" cy="615390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B7B9BE-2B5E-4B9A-A401-6A5CF47D5351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539242" y="6241572"/>
            <a:ext cx="5471158" cy="492125"/>
          </a:xfrm>
        </p:spPr>
        <p:txBody>
          <a:bodyPr/>
          <a:lstStyle/>
          <a:p>
            <a:endParaRPr lang="ru-RU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F8403D9-D4F0-4377-A49F-F923ABF13509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ru-RU" dirty="0"/>
              <a:t>Опрос</a:t>
            </a:r>
          </a:p>
        </p:txBody>
      </p:sp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3" name="Add-in 2" title="Mentimeter">
                <a:extLst>
                  <a:ext uri="{FF2B5EF4-FFF2-40B4-BE49-F238E27FC236}">
                    <a16:creationId xmlns:a16="http://schemas.microsoft.com/office/drawing/2014/main" id="{2D760E3A-E6A9-4E53-81FA-91814F64B75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954935537"/>
                  </p:ext>
                </p:extLst>
              </p:nvPr>
            </p:nvGraphicFramePr>
            <p:xfrm>
              <a:off x="1119951" y="0"/>
              <a:ext cx="11056809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3" name="Add-in 2" title="Mentimeter">
                <a:extLst>
                  <a:ext uri="{FF2B5EF4-FFF2-40B4-BE49-F238E27FC236}">
                    <a16:creationId xmlns:a16="http://schemas.microsoft.com/office/drawing/2014/main" id="{2D760E3A-E6A9-4E53-81FA-91814F64B75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19951" y="0"/>
                <a:ext cx="11056809" cy="685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288562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DD4EC19-6F0D-47BA-8024-14723E3DE4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221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DD4EC19-6F0D-47BA-8024-14723E3DE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98E59349-38EC-481C-902C-0241546E7850}"/>
              </a:ext>
            </a:extLst>
          </p:cNvPr>
          <p:cNvSpPr/>
          <p:nvPr/>
        </p:nvSpPr>
        <p:spPr>
          <a:xfrm>
            <a:off x="794033" y="1164214"/>
            <a:ext cx="5282910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The primary outcome occurred in 490 of 4687 patients (10.5%) in the pooled empagliflozin group and in 282 of 2333 patients (12.1%) in the placebo group (hazard ratio in the empagliflozin group, 0.86; 95.02% confidence interval, 0.74 to 0.99; P=0.04 for superiority). </a:t>
            </a:r>
            <a:endParaRPr lang="ru-RU" sz="1600" dirty="0"/>
          </a:p>
          <a:p>
            <a:endParaRPr lang="ru-RU" sz="1600" dirty="0"/>
          </a:p>
          <a:p>
            <a:r>
              <a:rPr lang="en-US" sz="1600" dirty="0"/>
              <a:t>There were no significant between-group differences in the rates of </a:t>
            </a:r>
            <a:r>
              <a:rPr lang="en-US" sz="1600" b="1" dirty="0"/>
              <a:t>myocardial infarction or stroke</a:t>
            </a:r>
            <a:r>
              <a:rPr lang="en-US" sz="1600" dirty="0"/>
              <a:t>, but in the empagliflozin group there were significantly lower rates of death from cardiovascular causes (3.7%, vs. 5.9% in the placebo group; 38% relative risk reduction), hospitalization for heart failure (2.7% and 4.1%, respectively; 35% relative risk reduction), and death from any cause (5.7% and 8.3%, respectively; 32% relative risk reduction). There was no significant between-group difference in the key secondary outcome (P=0.08 for superiority). Among patients receiving empagliflozin, there was an increased rate of genital infection but no increase in other adverse events.</a:t>
            </a:r>
            <a:endParaRPr lang="ru-RU" sz="16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E0689E-CFA5-49DF-8692-FD620A8DF500}"/>
              </a:ext>
            </a:extLst>
          </p:cNvPr>
          <p:cNvSpPr/>
          <p:nvPr/>
        </p:nvSpPr>
        <p:spPr>
          <a:xfrm>
            <a:off x="2072003" y="307696"/>
            <a:ext cx="24335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EMPA-REG OUTCOME</a:t>
            </a:r>
            <a:endParaRPr lang="ru-R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CACE34-18FE-450A-B018-3021A6DDAC85}"/>
              </a:ext>
            </a:extLst>
          </p:cNvPr>
          <p:cNvSpPr/>
          <p:nvPr/>
        </p:nvSpPr>
        <p:spPr>
          <a:xfrm>
            <a:off x="6090000" y="1164214"/>
            <a:ext cx="6096000" cy="550920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dirty="0"/>
              <a:t>The rate of the primary outcome was lower with canagliflozin than with placebo (occurring in 26.9 vs. 31.5 participants per 1000 patient-years; hazard ratio, 0.86; 95% confidence interval [CI], 0.75 to 0.97; P&lt;0.001 for noninferiority; P=0.02 for superiority). </a:t>
            </a:r>
          </a:p>
          <a:p>
            <a:endParaRPr lang="en-US" sz="1600" dirty="0"/>
          </a:p>
          <a:p>
            <a:r>
              <a:rPr lang="en-US" sz="1600" dirty="0"/>
              <a:t>Although on the basis of the prespecified hypothesis testing sequence the renal outcomes are not viewed as statistically significant, </a:t>
            </a:r>
          </a:p>
          <a:p>
            <a:endParaRPr lang="en-US" sz="1600" dirty="0"/>
          </a:p>
          <a:p>
            <a:r>
              <a:rPr lang="en-US" sz="1600" dirty="0"/>
              <a:t>the results showed a possible benefit of canagliflozin with respect to the progression of albuminuria (hazard ratio, 0.73; 95% CI, 0.67 to 0.79) and the composite outcome of a sustained 40% reduction in the estimated glomerular filtration rate, the need for renal-replacement therapy, or death from renal causes (hazard ratio, 0.60; 95% CI, 0.47 to 0.77).</a:t>
            </a:r>
            <a:endParaRPr lang="ru-RU" sz="1600" dirty="0"/>
          </a:p>
          <a:p>
            <a:endParaRPr lang="ru-RU" sz="1600" dirty="0"/>
          </a:p>
          <a:p>
            <a:r>
              <a:rPr lang="en-US" sz="1600" dirty="0"/>
              <a:t> Adverse reactions were consistent with the previously reported risks associated with canagliflozin except for an increased risk of amputation (6.3 vs. 3.4 participants per 1000 patient-years; hazard ratio, 1.97; 95% CI, 1.41 to 2.75); amputations were primarily at the level of the toe or metatarsal.</a:t>
            </a:r>
            <a:endParaRPr lang="ru-RU" sz="16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E7CF70C-5D30-4F63-A9DB-97D9B92E1214}"/>
              </a:ext>
            </a:extLst>
          </p:cNvPr>
          <p:cNvSpPr/>
          <p:nvPr/>
        </p:nvSpPr>
        <p:spPr>
          <a:xfrm>
            <a:off x="8571000" y="307696"/>
            <a:ext cx="10960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CANVAS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985348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65593A0-7B9E-41CD-8C39-B260645020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22507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9" imgW="362" imgH="362" progId="TCLayout.ActiveDocument.1">
                  <p:embed/>
                </p:oleObj>
              </mc:Choice>
              <mc:Fallback>
                <p:oleObj name="think-cell Slide" r:id="rId9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65593A0-7B9E-41CD-8C39-B26064502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2AF77FD-BE2B-4954-A24B-13B22C5BF0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>
              <a:latin typeface="DINPro-Medium" panose="02000503030000020004" pitchFamily="50" charset="0"/>
              <a:sym typeface="DINPro-Medium" panose="02000503030000020004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A40949-6845-4528-AD16-EE1EAA09D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11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0AF798E6-2022-488F-AD59-BACBCDB19B4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43274" y="2173288"/>
            <a:ext cx="5505450" cy="835025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square" lIns="122238" tIns="112713" rIns="0" bIns="112713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ACC_AHA новые рекомендации по лечению </a:t>
            </a:r>
            <a:r>
              <a:rPr lang="ru-RU"/>
              <a:t>гиперхолестеринемии 2018</a:t>
            </a:r>
            <a:endParaRPr lang="ru-RU" dirty="0"/>
          </a:p>
        </p:txBody>
      </p:sp>
      <p:sp>
        <p:nvSpPr>
          <p:cNvPr id="24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E9A68B4F-EF79-47CF-8E1B-CEC53E91459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43275" y="3008313"/>
            <a:ext cx="5505450" cy="573088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none" lIns="122238" tIns="122238" rIns="0" bIns="122238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2400" dirty="0"/>
              <a:t>DECLARE –TIMI 58</a:t>
            </a:r>
            <a:endParaRPr lang="ru-RU" sz="2400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AF4FB3A-57C4-4B0A-B0C2-949FCF632E4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43274" y="3581400"/>
            <a:ext cx="5505450" cy="573088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wrap="none" lIns="122238" tIns="122238" rIns="0" bIns="122238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2400" b="1" dirty="0">
                <a:solidFill>
                  <a:schemeClr val="bg1"/>
                </a:solidFill>
              </a:rPr>
              <a:t>REDUCE-IT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75BDCF36-6B32-4240-B5B0-45077A62042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43274" y="4154488"/>
            <a:ext cx="5505450" cy="530225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none" lIns="122238" tIns="112713" rIns="0" bIns="112713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/>
              <a:t>VITAL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0254618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/>
          <p:cNvSpPr>
            <a:spLocks noGrp="1"/>
          </p:cNvSpPr>
          <p:nvPr>
            <p:ph type="title" idx="4294967295"/>
          </p:nvPr>
        </p:nvSpPr>
        <p:spPr>
          <a:xfrm>
            <a:off x="609600" y="11113"/>
            <a:ext cx="9144000" cy="825500"/>
          </a:xfrm>
        </p:spPr>
        <p:txBody>
          <a:bodyPr>
            <a:normAutofit/>
          </a:bodyPr>
          <a:lstStyle/>
          <a:p>
            <a:r>
              <a:rPr lang="ru-RU" sz="3200" dirty="0">
                <a:solidFill>
                  <a:srgbClr val="002060"/>
                </a:solidFill>
              </a:rPr>
              <a:t>Заявление о конфликте интересов</a:t>
            </a:r>
          </a:p>
        </p:txBody>
      </p:sp>
      <p:sp>
        <p:nvSpPr>
          <p:cNvPr id="8" name="Content Placeholder 4"/>
          <p:cNvSpPr txBox="1">
            <a:spLocks/>
          </p:cNvSpPr>
          <p:nvPr/>
        </p:nvSpPr>
        <p:spPr>
          <a:xfrm>
            <a:off x="609600" y="1764000"/>
            <a:ext cx="5988251" cy="174659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ru-RU" sz="1800" dirty="0">
                <a:solidFill>
                  <a:srgbClr val="002060"/>
                </a:solidFill>
              </a:rPr>
              <a:t>1. Гонорары в рамках сотрудничества МА</a:t>
            </a:r>
            <a:r>
              <a:rPr lang="en-US" sz="1800" dirty="0">
                <a:solidFill>
                  <a:srgbClr val="002060"/>
                </a:solidFill>
              </a:rPr>
              <a:t>G</a:t>
            </a:r>
            <a:r>
              <a:rPr lang="ru-RU" sz="1800" dirty="0">
                <a:solidFill>
                  <a:srgbClr val="002060"/>
                </a:solidFill>
              </a:rPr>
              <a:t> с компаниями: </a:t>
            </a:r>
          </a:p>
        </p:txBody>
      </p:sp>
      <p:sp>
        <p:nvSpPr>
          <p:cNvPr id="2" name="Rectangle 1"/>
          <p:cNvSpPr/>
          <p:nvPr/>
        </p:nvSpPr>
        <p:spPr>
          <a:xfrm>
            <a:off x="7003401" y="1764000"/>
            <a:ext cx="4578999" cy="174659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ru-RU" sz="1500" dirty="0">
                <a:solidFill>
                  <a:srgbClr val="002060"/>
                </a:solidFill>
                <a:latin typeface="DINPro-Medium" panose="02000503030000020004" pitchFamily="50" charset="0"/>
              </a:rPr>
              <a:t>Наличие косвенного конфликта интересов</a:t>
            </a:r>
            <a:endParaRPr lang="en-US" sz="1500" dirty="0">
              <a:solidFill>
                <a:srgbClr val="002060"/>
              </a:solidFill>
              <a:latin typeface="DINPro-Medium" panose="02000503030000020004" pitchFamily="50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003401" y="3621712"/>
            <a:ext cx="4578999" cy="105029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ru-RU" sz="1500" dirty="0">
                <a:solidFill>
                  <a:srgbClr val="002060"/>
                </a:solidFill>
                <a:latin typeface="DINPro-Medium" panose="02000503030000020004" pitchFamily="50" charset="0"/>
              </a:rPr>
              <a:t>Отсутствие  конфликта интересов</a:t>
            </a:r>
            <a:endParaRPr lang="en-US" sz="1500" dirty="0">
              <a:solidFill>
                <a:srgbClr val="002060"/>
              </a:solidFill>
              <a:latin typeface="DINPro-Medium" panose="02000503030000020004" pitchFamily="50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15539A0-1507-44BF-A9B7-FB633B5B08FE}"/>
              </a:ext>
            </a:extLst>
          </p:cNvPr>
          <p:cNvSpPr/>
          <p:nvPr/>
        </p:nvSpPr>
        <p:spPr>
          <a:xfrm>
            <a:off x="1810266" y="2352029"/>
            <a:ext cx="1793458" cy="1012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85812" lvl="1" indent="-342906" defTabSz="914417">
              <a:buFont typeface="+mj-lt"/>
              <a:buAutoNum type="arabicPeriod" startAt="6"/>
              <a:defRPr/>
            </a:pPr>
            <a:r>
              <a:rPr lang="en-US" sz="1000" dirty="0">
                <a:solidFill>
                  <a:srgbClr val="002060"/>
                </a:solidFill>
                <a:latin typeface="DINPro-Medium" panose="02000503030000020004" pitchFamily="50" charset="0"/>
              </a:rPr>
              <a:t>Sandoz + Novartis</a:t>
            </a:r>
          </a:p>
          <a:p>
            <a:pPr marL="685812" lvl="1" indent="-342906" defTabSz="914417">
              <a:buFont typeface="+mj-lt"/>
              <a:buAutoNum type="arabicPeriod" startAt="6"/>
              <a:defRPr/>
            </a:pPr>
            <a:r>
              <a:rPr lang="en-US" sz="1000" dirty="0" err="1">
                <a:solidFill>
                  <a:srgbClr val="002060"/>
                </a:solidFill>
                <a:latin typeface="DINPro-Medium" panose="02000503030000020004" pitchFamily="50" charset="0"/>
              </a:rPr>
              <a:t>Recordati</a:t>
            </a:r>
            <a:endParaRPr lang="en-US" sz="1000" dirty="0">
              <a:solidFill>
                <a:srgbClr val="002060"/>
              </a:solidFill>
              <a:latin typeface="DINPro-Medium" panose="02000503030000020004" pitchFamily="50" charset="0"/>
            </a:endParaRPr>
          </a:p>
          <a:p>
            <a:pPr marL="685812" lvl="1" indent="-342906" defTabSz="914417">
              <a:buFont typeface="+mj-lt"/>
              <a:buAutoNum type="arabicPeriod" startAt="6"/>
              <a:defRPr/>
            </a:pPr>
            <a:r>
              <a:rPr lang="en-US" sz="1000" dirty="0" err="1">
                <a:solidFill>
                  <a:srgbClr val="002060"/>
                </a:solidFill>
                <a:latin typeface="DINPro-Medium" panose="02000503030000020004" pitchFamily="50" charset="0"/>
              </a:rPr>
              <a:t>Chiesi</a:t>
            </a:r>
            <a:endParaRPr lang="en-US" sz="1000" dirty="0">
              <a:solidFill>
                <a:srgbClr val="002060"/>
              </a:solidFill>
              <a:latin typeface="DINPro-Medium" panose="02000503030000020004" pitchFamily="50" charset="0"/>
            </a:endParaRPr>
          </a:p>
          <a:p>
            <a:pPr marL="685812" lvl="1" indent="-342906" defTabSz="914417">
              <a:buFont typeface="+mj-lt"/>
              <a:buAutoNum type="arabicPeriod" startAt="6"/>
              <a:defRPr/>
            </a:pPr>
            <a:r>
              <a:rPr lang="en-US" sz="1000" dirty="0">
                <a:solidFill>
                  <a:srgbClr val="002060"/>
                </a:solidFill>
                <a:latin typeface="DINPro-Medium" panose="02000503030000020004" pitchFamily="50" charset="0"/>
              </a:rPr>
              <a:t>Shire</a:t>
            </a:r>
          </a:p>
          <a:p>
            <a:pPr marL="685812" lvl="1" indent="-342906" defTabSz="914417">
              <a:buFont typeface="+mj-lt"/>
              <a:buAutoNum type="arabicPeriod" startAt="6"/>
              <a:defRPr/>
            </a:pPr>
            <a:r>
              <a:rPr lang="en-US" sz="1000" dirty="0">
                <a:solidFill>
                  <a:srgbClr val="002060"/>
                </a:solidFill>
                <a:latin typeface="DINPro-Medium" panose="02000503030000020004" pitchFamily="50" charset="0"/>
              </a:rPr>
              <a:t>Valeant</a:t>
            </a:r>
            <a:endParaRPr lang="ru-RU" sz="1000" dirty="0">
              <a:solidFill>
                <a:srgbClr val="002060"/>
              </a:solidFill>
              <a:latin typeface="DINPro-Medium" panose="02000503030000020004" pitchFamily="50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D861EB1-2003-4B6B-92B1-ADE9DD4DCFC1}"/>
              </a:ext>
            </a:extLst>
          </p:cNvPr>
          <p:cNvSpPr/>
          <p:nvPr/>
        </p:nvSpPr>
        <p:spPr>
          <a:xfrm>
            <a:off x="3603724" y="2342098"/>
            <a:ext cx="1727275" cy="1291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07294" indent="-207294" defTabSz="914417">
              <a:buFont typeface="+mj-lt"/>
              <a:buAutoNum type="arabicPeriod" startAt="11"/>
              <a:defRPr/>
            </a:pPr>
            <a:r>
              <a:rPr lang="ru-RU" sz="1000" dirty="0" err="1">
                <a:solidFill>
                  <a:srgbClr val="002060"/>
                </a:solidFill>
                <a:latin typeface="DINPro-Medium" panose="02000503030000020004" pitchFamily="50" charset="0"/>
              </a:rPr>
              <a:t>Фармасинтез</a:t>
            </a:r>
            <a:endParaRPr lang="ru-RU" sz="1000" dirty="0">
              <a:solidFill>
                <a:srgbClr val="002060"/>
              </a:solidFill>
              <a:latin typeface="DINPro-Medium" panose="02000503030000020004" pitchFamily="50" charset="0"/>
            </a:endParaRPr>
          </a:p>
          <a:p>
            <a:pPr marL="171453" indent="-171453" defTabSz="914417">
              <a:buFont typeface="+mj-lt"/>
              <a:buAutoNum type="arabicPeriod" startAt="11"/>
              <a:defRPr/>
            </a:pPr>
            <a:r>
              <a:rPr lang="ru-RU" sz="1000" dirty="0">
                <a:solidFill>
                  <a:srgbClr val="002060"/>
                </a:solidFill>
                <a:latin typeface="DINPro-Medium" panose="02000503030000020004" pitchFamily="50" charset="0"/>
              </a:rPr>
              <a:t>Такеда</a:t>
            </a:r>
            <a:endParaRPr lang="en-US" sz="1000" dirty="0">
              <a:solidFill>
                <a:srgbClr val="002060"/>
              </a:solidFill>
              <a:latin typeface="DINPro-Medium" panose="02000503030000020004" pitchFamily="50" charset="0"/>
            </a:endParaRPr>
          </a:p>
          <a:p>
            <a:pPr marL="171453" indent="-171453" defTabSz="914417">
              <a:buFont typeface="+mj-lt"/>
              <a:buAutoNum type="arabicPeriod" startAt="11"/>
              <a:defRPr/>
            </a:pPr>
            <a:r>
              <a:rPr lang="ru-RU" sz="1000" dirty="0" err="1">
                <a:solidFill>
                  <a:srgbClr val="002060"/>
                </a:solidFill>
                <a:latin typeface="DINPro-Medium" panose="02000503030000020004" pitchFamily="50" charset="0"/>
              </a:rPr>
              <a:t>Тева</a:t>
            </a:r>
            <a:endParaRPr lang="en-US" sz="1000" dirty="0">
              <a:solidFill>
                <a:srgbClr val="002060"/>
              </a:solidFill>
              <a:latin typeface="DINPro-Medium" panose="02000503030000020004" pitchFamily="50" charset="0"/>
            </a:endParaRPr>
          </a:p>
          <a:p>
            <a:pPr defTabSz="914417">
              <a:defRPr/>
            </a:pPr>
            <a:r>
              <a:rPr lang="en-US" sz="1000" dirty="0">
                <a:solidFill>
                  <a:srgbClr val="002060"/>
                </a:solidFill>
                <a:latin typeface="DINPro-Medium" panose="02000503030000020004" pitchFamily="50" charset="0"/>
              </a:rPr>
              <a:t>14. Allergan</a:t>
            </a:r>
            <a:endParaRPr lang="ru-RU" sz="1000" dirty="0">
              <a:solidFill>
                <a:srgbClr val="002060"/>
              </a:solidFill>
              <a:latin typeface="DINPro-Medium" panose="02000503030000020004" pitchFamily="50" charset="0"/>
            </a:endParaRPr>
          </a:p>
          <a:p>
            <a:pPr defTabSz="914417">
              <a:defRPr/>
            </a:pPr>
            <a:r>
              <a:rPr lang="ru-RU" sz="1000" dirty="0">
                <a:solidFill>
                  <a:srgbClr val="002060"/>
                </a:solidFill>
                <a:latin typeface="DINPro-Medium" panose="02000503030000020004" pitchFamily="50" charset="0"/>
              </a:rPr>
              <a:t>15</a:t>
            </a:r>
            <a:r>
              <a:rPr lang="en-US" sz="1000" dirty="0">
                <a:solidFill>
                  <a:srgbClr val="002060"/>
                </a:solidFill>
                <a:latin typeface="DINPro-Medium" panose="02000503030000020004" pitchFamily="50" charset="0"/>
              </a:rPr>
              <a:t>. Gilead Sciences</a:t>
            </a:r>
          </a:p>
          <a:p>
            <a:pPr defTabSz="914417">
              <a:defRPr/>
            </a:pPr>
            <a:r>
              <a:rPr lang="en-US" sz="1000" dirty="0">
                <a:solidFill>
                  <a:srgbClr val="002060"/>
                </a:solidFill>
                <a:latin typeface="DINPro-Medium" panose="02000503030000020004" pitchFamily="50" charset="0"/>
              </a:rPr>
              <a:t>16. J&amp;J</a:t>
            </a:r>
          </a:p>
          <a:p>
            <a:pPr defTabSz="914417">
              <a:defRPr/>
            </a:pPr>
            <a:r>
              <a:rPr lang="en-US" sz="1000" dirty="0">
                <a:solidFill>
                  <a:srgbClr val="002060"/>
                </a:solidFill>
                <a:latin typeface="DINPro-Medium" panose="02000503030000020004" pitchFamily="50" charset="0"/>
              </a:rPr>
              <a:t>17. Santen</a:t>
            </a:r>
          </a:p>
          <a:p>
            <a:pPr marL="116605" indent="-116605" defTabSz="914417">
              <a:buFont typeface="Wingdings" panose="05000000000000000000" pitchFamily="2" charset="2"/>
              <a:buChar char="ü"/>
              <a:defRPr/>
            </a:pPr>
            <a:endParaRPr lang="en-US" sz="816" dirty="0">
              <a:solidFill>
                <a:srgbClr val="002060"/>
              </a:solidFill>
              <a:latin typeface="DINPro-Medium" panose="02000503030000020004" pitchFamily="50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EDEA56C-4828-4EDE-A56B-4E945ED46D30}"/>
              </a:ext>
            </a:extLst>
          </p:cNvPr>
          <p:cNvSpPr txBox="1"/>
          <p:nvPr/>
        </p:nvSpPr>
        <p:spPr>
          <a:xfrm>
            <a:off x="584448" y="4792347"/>
            <a:ext cx="5988253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02060"/>
                </a:solidFill>
              </a:rPr>
              <a:t>3</a:t>
            </a:r>
            <a:r>
              <a:rPr lang="ru-RU" dirty="0">
                <a:solidFill>
                  <a:srgbClr val="002060"/>
                </a:solidFill>
              </a:rPr>
              <a:t>. Другое:</a:t>
            </a:r>
          </a:p>
          <a:p>
            <a:r>
              <a:rPr lang="ru-RU" sz="1100" dirty="0">
                <a:solidFill>
                  <a:srgbClr val="002060"/>
                </a:solidFill>
              </a:rPr>
              <a:t>Гонорары за участие в советах экспертов – </a:t>
            </a:r>
            <a:r>
              <a:rPr lang="en-US" sz="1100" dirty="0">
                <a:solidFill>
                  <a:srgbClr val="002060"/>
                </a:solidFill>
              </a:rPr>
              <a:t>NovoNordisk</a:t>
            </a:r>
          </a:p>
          <a:p>
            <a:endParaRPr lang="ru-RU" sz="1200" dirty="0"/>
          </a:p>
          <a:p>
            <a:endParaRPr lang="en-US" sz="12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831B9E6-5B7C-4096-BAD6-8C2388A5905A}"/>
              </a:ext>
            </a:extLst>
          </p:cNvPr>
          <p:cNvSpPr/>
          <p:nvPr/>
        </p:nvSpPr>
        <p:spPr>
          <a:xfrm>
            <a:off x="204050" y="2352029"/>
            <a:ext cx="1986871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398" lvl="1" indent="-457200">
              <a:buFont typeface="+mj-lt"/>
              <a:buAutoNum type="arabicPeriod"/>
            </a:pPr>
            <a:r>
              <a:rPr lang="en-US" sz="1050" dirty="0">
                <a:solidFill>
                  <a:srgbClr val="002060"/>
                </a:solidFill>
              </a:rPr>
              <a:t>AstraZeneca </a:t>
            </a:r>
            <a:endParaRPr lang="ru-RU" sz="1050" dirty="0">
              <a:solidFill>
                <a:srgbClr val="002060"/>
              </a:solidFill>
            </a:endParaRPr>
          </a:p>
          <a:p>
            <a:pPr marL="914398" lvl="1" indent="-457200">
              <a:buFont typeface="+mj-lt"/>
              <a:buAutoNum type="arabicPeriod"/>
            </a:pPr>
            <a:r>
              <a:rPr lang="en-US" sz="1050" dirty="0">
                <a:solidFill>
                  <a:srgbClr val="002060"/>
                </a:solidFill>
              </a:rPr>
              <a:t>Sanofi</a:t>
            </a:r>
            <a:endParaRPr lang="ru-RU" sz="1050" dirty="0">
              <a:solidFill>
                <a:srgbClr val="002060"/>
              </a:solidFill>
            </a:endParaRPr>
          </a:p>
          <a:p>
            <a:pPr marL="914398" lvl="1" indent="-457200">
              <a:buFont typeface="+mj-lt"/>
              <a:buAutoNum type="arabicPeriod"/>
            </a:pPr>
            <a:r>
              <a:rPr lang="en-US" sz="1050" dirty="0">
                <a:solidFill>
                  <a:srgbClr val="002060"/>
                </a:solidFill>
              </a:rPr>
              <a:t>Merck</a:t>
            </a:r>
            <a:endParaRPr lang="ru-RU" sz="1050" dirty="0">
              <a:solidFill>
                <a:srgbClr val="002060"/>
              </a:solidFill>
            </a:endParaRPr>
          </a:p>
          <a:p>
            <a:pPr marL="914398" lvl="1" indent="-457200">
              <a:buFont typeface="+mj-lt"/>
              <a:buAutoNum type="arabicPeriod"/>
            </a:pPr>
            <a:r>
              <a:rPr lang="fr-FR" sz="1050" dirty="0">
                <a:solidFill>
                  <a:srgbClr val="002060"/>
                </a:solidFill>
              </a:rPr>
              <a:t>B</a:t>
            </a:r>
            <a:r>
              <a:rPr lang="en-US" sz="1050" dirty="0" err="1">
                <a:solidFill>
                  <a:srgbClr val="002060"/>
                </a:solidFill>
              </a:rPr>
              <a:t>ayer</a:t>
            </a:r>
            <a:endParaRPr lang="ru-RU" sz="1050" dirty="0">
              <a:solidFill>
                <a:srgbClr val="002060"/>
              </a:solidFill>
            </a:endParaRPr>
          </a:p>
          <a:p>
            <a:pPr marL="914398" lvl="1" indent="-457200">
              <a:buFont typeface="+mj-lt"/>
              <a:buAutoNum type="arabicPeriod"/>
            </a:pPr>
            <a:r>
              <a:rPr lang="en-US" sz="1050" dirty="0" err="1">
                <a:solidFill>
                  <a:srgbClr val="002060"/>
                </a:solidFill>
              </a:rPr>
              <a:t>DrReddis</a:t>
            </a:r>
            <a:endParaRPr lang="ru-RU" sz="1050" dirty="0">
              <a:solidFill>
                <a:srgbClr val="002060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FAB3DD1-1EFD-45BE-8673-B96ACFE9D1E0}"/>
              </a:ext>
            </a:extLst>
          </p:cNvPr>
          <p:cNvSpPr/>
          <p:nvPr/>
        </p:nvSpPr>
        <p:spPr>
          <a:xfrm>
            <a:off x="603508" y="3621711"/>
            <a:ext cx="5988254" cy="105029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noAutofit/>
          </a:bodyPr>
          <a:lstStyle/>
          <a:p>
            <a:pPr lvl="0" defTabSz="1008400">
              <a:spcBef>
                <a:spcPts val="1103"/>
              </a:spcBef>
              <a:defRPr/>
            </a:pPr>
            <a:r>
              <a:rPr lang="en-US" dirty="0">
                <a:solidFill>
                  <a:srgbClr val="002060"/>
                </a:solidFill>
              </a:rPr>
              <a:t>2</a:t>
            </a:r>
            <a:r>
              <a:rPr lang="ru-RU" dirty="0">
                <a:solidFill>
                  <a:srgbClr val="002060"/>
                </a:solidFill>
              </a:rPr>
              <a:t>. Владение акциями компаний, чти препараты  обсуждаются  данной презентации</a:t>
            </a:r>
          </a:p>
          <a:p>
            <a:pPr marL="231779" indent="-231779">
              <a:buNone/>
            </a:pPr>
            <a:endParaRPr lang="en-US" dirty="0">
              <a:solidFill>
                <a:srgbClr val="002060"/>
              </a:solidFill>
            </a:endParaRPr>
          </a:p>
          <a:p>
            <a:pPr marL="231779" indent="-231779">
              <a:buNone/>
            </a:pPr>
            <a:r>
              <a:rPr lang="en-US" dirty="0">
                <a:solidFill>
                  <a:srgbClr val="002060"/>
                </a:solidFill>
              </a:rPr>
              <a:t>			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2C9DD69D-D06C-4D5A-AB69-679F88AC0A53}"/>
              </a:ext>
            </a:extLst>
          </p:cNvPr>
          <p:cNvSpPr/>
          <p:nvPr/>
        </p:nvSpPr>
        <p:spPr>
          <a:xfrm>
            <a:off x="7028555" y="4821463"/>
            <a:ext cx="4578999" cy="894214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pPr algn="ctr"/>
            <a:r>
              <a:rPr lang="ru-RU" sz="1500" dirty="0">
                <a:solidFill>
                  <a:srgbClr val="002060"/>
                </a:solidFill>
                <a:latin typeface="DINPro-Medium" panose="02000503030000020004" pitchFamily="50" charset="0"/>
              </a:rPr>
              <a:t>Отсутствие  конфликта интересов</a:t>
            </a:r>
            <a:endParaRPr lang="en-US" sz="1500" dirty="0">
              <a:solidFill>
                <a:srgbClr val="002060"/>
              </a:solidFill>
              <a:latin typeface="DINPro-Medium" panose="02000503030000020004" pitchFamily="50" charset="0"/>
            </a:endParaRPr>
          </a:p>
        </p:txBody>
      </p: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228DE0BF-BF49-4404-A626-6207DC87A838}"/>
              </a:ext>
            </a:extLst>
          </p:cNvPr>
          <p:cNvSpPr/>
          <p:nvPr/>
        </p:nvSpPr>
        <p:spPr>
          <a:xfrm rot="5400000">
            <a:off x="6431711" y="5121445"/>
            <a:ext cx="861374" cy="203179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26" name="Isosceles Triangle 25">
            <a:extLst>
              <a:ext uri="{FF2B5EF4-FFF2-40B4-BE49-F238E27FC236}">
                <a16:creationId xmlns:a16="http://schemas.microsoft.com/office/drawing/2014/main" id="{6AE4847C-40F1-464F-BE7B-CFEED735AD3B}"/>
              </a:ext>
            </a:extLst>
          </p:cNvPr>
          <p:cNvSpPr/>
          <p:nvPr/>
        </p:nvSpPr>
        <p:spPr>
          <a:xfrm rot="5400000">
            <a:off x="6431391" y="4045268"/>
            <a:ext cx="861374" cy="203179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28" name="Isosceles Triangle 27">
            <a:extLst>
              <a:ext uri="{FF2B5EF4-FFF2-40B4-BE49-F238E27FC236}">
                <a16:creationId xmlns:a16="http://schemas.microsoft.com/office/drawing/2014/main" id="{21468821-CB78-42B7-ABE7-F519959FA131}"/>
              </a:ext>
            </a:extLst>
          </p:cNvPr>
          <p:cNvSpPr/>
          <p:nvPr/>
        </p:nvSpPr>
        <p:spPr>
          <a:xfrm rot="5400000">
            <a:off x="6394845" y="2515573"/>
            <a:ext cx="861374" cy="203179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F15469-F236-4F1D-88B8-0C58371952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57836" y="6510033"/>
            <a:ext cx="434164" cy="365125"/>
          </a:xfrm>
        </p:spPr>
        <p:txBody>
          <a:bodyPr/>
          <a:lstStyle/>
          <a:p>
            <a:fld id="{5F3F9096-8ED8-4F14-8F69-892A89853C22}" type="slidenum">
              <a:rPr lang="ru-RU" smtClean="0"/>
              <a:t>3</a:t>
            </a:fld>
            <a:endParaRPr lang="ru-RU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07BE624-09A2-4FA7-988D-F867CDF47CC1}"/>
              </a:ext>
            </a:extLst>
          </p:cNvPr>
          <p:cNvSpPr/>
          <p:nvPr/>
        </p:nvSpPr>
        <p:spPr>
          <a:xfrm>
            <a:off x="4894294" y="2352029"/>
            <a:ext cx="152993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17">
              <a:defRPr/>
            </a:pPr>
            <a:r>
              <a:rPr lang="ru-RU" sz="1000" dirty="0">
                <a:solidFill>
                  <a:srgbClr val="002060"/>
                </a:solidFill>
                <a:latin typeface="DINPro-Medium" panose="02000503030000020004" pitchFamily="50" charset="0"/>
              </a:rPr>
              <a:t>18. </a:t>
            </a:r>
            <a:r>
              <a:rPr lang="en-US" sz="1000" dirty="0">
                <a:solidFill>
                  <a:srgbClr val="002060"/>
                </a:solidFill>
                <a:latin typeface="DINPro-Medium" panose="02000503030000020004" pitchFamily="50" charset="0"/>
              </a:rPr>
              <a:t>Alexion</a:t>
            </a:r>
          </a:p>
        </p:txBody>
      </p:sp>
    </p:spTree>
    <p:extLst>
      <p:ext uri="{BB962C8B-B14F-4D97-AF65-F5344CB8AC3E}">
        <p14:creationId xmlns:p14="http://schemas.microsoft.com/office/powerpoint/2010/main" val="402905522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01C56B8-E24A-4E83-983D-0C35F01BB6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88832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01C56B8-E24A-4E83-983D-0C35F01BB6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125E41A-88A5-4413-9C0B-E5250B5659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8696" y="3236915"/>
            <a:ext cx="3541453" cy="2852737"/>
          </a:xfrm>
        </p:spPr>
        <p:txBody>
          <a:bodyPr/>
          <a:lstStyle/>
          <a:p>
            <a:r>
              <a:rPr lang="en-GB" dirty="0"/>
              <a:t>REDUCE-IT</a:t>
            </a:r>
            <a:endParaRPr lang="ru-R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2A9A8C8-3BB2-4A94-874D-5CE61C2015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9" y="97144"/>
            <a:ext cx="7515423" cy="434278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6D9990C5-BD67-4F9E-B4EA-2F92AF477B53}"/>
              </a:ext>
            </a:extLst>
          </p:cNvPr>
          <p:cNvSpPr/>
          <p:nvPr/>
        </p:nvSpPr>
        <p:spPr>
          <a:xfrm>
            <a:off x="844547" y="5049036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err="1"/>
              <a:t>Омакор</a:t>
            </a:r>
            <a:r>
              <a:rPr lang="ru-RU" dirty="0"/>
              <a:t>: </a:t>
            </a:r>
          </a:p>
          <a:p>
            <a:r>
              <a:rPr lang="ru-RU" dirty="0"/>
              <a:t>этиловый эфир омега-3-кислот, состоящий из этилового эфира эйкозапентаеновой кислоты (ЭПК) — 46% и этилового эфира </a:t>
            </a:r>
            <a:r>
              <a:rPr lang="ru-RU" dirty="0" err="1"/>
              <a:t>докозагексаеновой</a:t>
            </a:r>
            <a:r>
              <a:rPr lang="ru-RU" dirty="0"/>
              <a:t> кислоты (ДГК) — 38%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E8F7332-65EA-4505-8934-387BAC170A46}"/>
              </a:ext>
            </a:extLst>
          </p:cNvPr>
          <p:cNvSpPr/>
          <p:nvPr/>
        </p:nvSpPr>
        <p:spPr>
          <a:xfrm>
            <a:off x="8121001" y="2017752"/>
            <a:ext cx="382500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800" dirty="0" err="1"/>
              <a:t>Vascepa</a:t>
            </a:r>
            <a:r>
              <a:rPr lang="ru-RU" sz="2800" dirty="0"/>
              <a:t> </a:t>
            </a:r>
          </a:p>
          <a:p>
            <a:r>
              <a:rPr lang="ru-RU" sz="2400" dirty="0"/>
              <a:t>- этиловый эфир эйкозапентаеновой кислоты (ЭПК)</a:t>
            </a:r>
            <a:r>
              <a:rPr lang="en-GB" sz="2400" dirty="0"/>
              <a:t> 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33005319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BF2B961-332B-402D-8661-EDE9D36754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1426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BF2B961-332B-402D-8661-EDE9D36754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CBBA616-EDF9-4BB5-BB97-79DC0D54903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39241" y="1"/>
            <a:ext cx="10652760" cy="6153909"/>
          </a:xfrm>
        </p:spPr>
        <p:txBody>
          <a:bodyPr/>
          <a:lstStyle/>
          <a:p>
            <a:endParaRPr lang="ru-R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01D302E-3217-44E6-8C01-6B9302D0853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539242" y="6241572"/>
            <a:ext cx="5471158" cy="492125"/>
          </a:xfrm>
        </p:spPr>
        <p:txBody>
          <a:bodyPr/>
          <a:lstStyle/>
          <a:p>
            <a:endParaRPr lang="ru-RU"/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4" name="Add-in 3" title="Mentimeter">
                <a:extLst>
                  <a:ext uri="{FF2B5EF4-FFF2-40B4-BE49-F238E27FC236}">
                    <a16:creationId xmlns:a16="http://schemas.microsoft.com/office/drawing/2014/main" id="{6EC01A5C-21E3-4FD3-9964-2CEB06BE7D81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527417413"/>
                  </p:ext>
                </p:extLst>
              </p:nvPr>
            </p:nvGraphicFramePr>
            <p:xfrm>
              <a:off x="1119951" y="0"/>
              <a:ext cx="11072049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4" name="Add-in 3" title="Mentimeter">
                <a:extLst>
                  <a:ext uri="{FF2B5EF4-FFF2-40B4-BE49-F238E27FC236}">
                    <a16:creationId xmlns:a16="http://schemas.microsoft.com/office/drawing/2014/main" id="{6EC01A5C-21E3-4FD3-9964-2CEB06BE7D81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19951" y="0"/>
                <a:ext cx="11072049" cy="6858000"/>
              </a:xfrm>
              <a:prstGeom prst="rect">
                <a:avLst/>
              </a:prstGeom>
            </p:spPr>
          </p:pic>
        </mc:Fallback>
      </mc:AlternateContent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9C0F003B-4F83-4463-AE83-C93F5F72AEAD}"/>
              </a:ext>
            </a:extLst>
          </p:cNvPr>
          <p:cNvSpPr txBox="1">
            <a:spLocks/>
          </p:cNvSpPr>
          <p:nvPr/>
        </p:nvSpPr>
        <p:spPr>
          <a:xfrm rot="16200000">
            <a:off x="-2614982" y="2502415"/>
            <a:ext cx="6153909" cy="8970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None/>
              <a:defRPr sz="3200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0F5EACFA-F566-4691-8F53-6F42C86ED204}"/>
              </a:ext>
            </a:extLst>
          </p:cNvPr>
          <p:cNvSpPr txBox="1">
            <a:spLocks/>
          </p:cNvSpPr>
          <p:nvPr/>
        </p:nvSpPr>
        <p:spPr>
          <a:xfrm rot="16200000">
            <a:off x="3484905" y="131248"/>
            <a:ext cx="6153909" cy="8970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None/>
              <a:defRPr sz="3200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9A5FB8D9-ACA9-4E1B-BF17-1C35B224129E}"/>
              </a:ext>
            </a:extLst>
          </p:cNvPr>
          <p:cNvSpPr txBox="1">
            <a:spLocks/>
          </p:cNvSpPr>
          <p:nvPr/>
        </p:nvSpPr>
        <p:spPr>
          <a:xfrm rot="16200000">
            <a:off x="-2253145" y="2780815"/>
            <a:ext cx="6153909" cy="8970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None/>
              <a:defRPr sz="3200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4F19D107-E6B2-465F-A3E1-110FD291D842}"/>
              </a:ext>
            </a:extLst>
          </p:cNvPr>
          <p:cNvSpPr txBox="1">
            <a:spLocks/>
          </p:cNvSpPr>
          <p:nvPr/>
        </p:nvSpPr>
        <p:spPr>
          <a:xfrm rot="16200000">
            <a:off x="3637305" y="283648"/>
            <a:ext cx="6153909" cy="8970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None/>
              <a:defRPr sz="3200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4BC86D6-FC00-4A7E-AE0A-211B212BFF43}"/>
              </a:ext>
            </a:extLst>
          </p:cNvPr>
          <p:cNvSpPr>
            <a:spLocks noGrp="1"/>
          </p:cNvSpPr>
          <p:nvPr>
            <p:ph idx="14"/>
          </p:nvPr>
        </p:nvSpPr>
        <p:spPr>
          <a:xfrm rot="16200000">
            <a:off x="-2405545" y="2628415"/>
            <a:ext cx="6153909" cy="897082"/>
          </a:xfrm>
        </p:spPr>
        <p:txBody>
          <a:bodyPr/>
          <a:lstStyle/>
          <a:p>
            <a:r>
              <a:rPr lang="ru-RU" dirty="0"/>
              <a:t>ОПРОС</a:t>
            </a:r>
          </a:p>
        </p:txBody>
      </p:sp>
    </p:spTree>
    <p:extLst>
      <p:ext uri="{BB962C8B-B14F-4D97-AF65-F5344CB8AC3E}">
        <p14:creationId xmlns:p14="http://schemas.microsoft.com/office/powerpoint/2010/main" val="277965164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132C83-6F9F-4D12-BB44-4F22374DE0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2252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6132C83-6F9F-4D12-BB44-4F22374DE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F82216C4-ABE1-4A2D-82A6-68AFF130D44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749AAF-28C4-4F0F-B733-167F29583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F9096-8ED8-4F14-8F69-892A89853C22}" type="slidenum">
              <a:rPr lang="ru-RU" smtClean="0"/>
              <a:pPr/>
              <a:t>32</a:t>
            </a:fld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E62C44-EFDE-4267-95E2-B2B67E5B7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REDUCE-IT</a:t>
            </a:r>
            <a:r>
              <a:rPr lang="ru-RU" sz="2800" dirty="0"/>
              <a:t>: дизайн исследования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ED6E39-C484-4C2E-AAAC-028D99C01419}"/>
              </a:ext>
            </a:extLst>
          </p:cNvPr>
          <p:cNvSpPr txBox="1"/>
          <p:nvPr/>
        </p:nvSpPr>
        <p:spPr>
          <a:xfrm>
            <a:off x="4791333" y="2156612"/>
            <a:ext cx="485574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dirty="0"/>
              <a:t>эфир эйкозапентаеновой кислоты (ЭПК) </a:t>
            </a:r>
          </a:p>
          <a:p>
            <a:r>
              <a:rPr lang="ru-RU" dirty="0"/>
              <a:t>2г*2 раза в день</a:t>
            </a:r>
            <a:endParaRPr lang="ru-RU" baseline="30000" dirty="0">
              <a:solidFill>
                <a:srgbClr val="0070C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CF3A554-30F7-4A94-BA67-75ACF9156933}"/>
              </a:ext>
            </a:extLst>
          </p:cNvPr>
          <p:cNvSpPr txBox="1"/>
          <p:nvPr/>
        </p:nvSpPr>
        <p:spPr>
          <a:xfrm>
            <a:off x="4739899" y="4028643"/>
            <a:ext cx="341952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dirty="0"/>
              <a:t>плацебо (минеральное масло)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0D454A2-1149-469B-BA7D-56E00E36B040}"/>
              </a:ext>
            </a:extLst>
          </p:cNvPr>
          <p:cNvGrpSpPr/>
          <p:nvPr/>
        </p:nvGrpSpPr>
        <p:grpSpPr>
          <a:xfrm>
            <a:off x="4828171" y="2880575"/>
            <a:ext cx="5130719" cy="283966"/>
            <a:chOff x="4828171" y="2880575"/>
            <a:chExt cx="5130719" cy="283966"/>
          </a:xfrm>
        </p:grpSpPr>
        <p:sp>
          <p:nvSpPr>
            <p:cNvPr id="16" name="Arrow: Pentagon 15">
              <a:extLst>
                <a:ext uri="{FF2B5EF4-FFF2-40B4-BE49-F238E27FC236}">
                  <a16:creationId xmlns:a16="http://schemas.microsoft.com/office/drawing/2014/main" id="{FA55CFF4-27EA-4177-9C80-4EC51AD57DA7}"/>
                </a:ext>
              </a:extLst>
            </p:cNvPr>
            <p:cNvSpPr/>
            <p:nvPr/>
          </p:nvSpPr>
          <p:spPr>
            <a:xfrm>
              <a:off x="9209220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A6E1041C-320E-454A-99E6-B0C4627D24AD}"/>
                </a:ext>
              </a:extLst>
            </p:cNvPr>
            <p:cNvSpPr/>
            <p:nvPr/>
          </p:nvSpPr>
          <p:spPr>
            <a:xfrm>
              <a:off x="8569140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" name="Arrow: Pentagon 12">
              <a:extLst>
                <a:ext uri="{FF2B5EF4-FFF2-40B4-BE49-F238E27FC236}">
                  <a16:creationId xmlns:a16="http://schemas.microsoft.com/office/drawing/2014/main" id="{B499D161-E2E8-48D1-B3C1-A9A8C7F5D235}"/>
                </a:ext>
              </a:extLst>
            </p:cNvPr>
            <p:cNvSpPr/>
            <p:nvPr/>
          </p:nvSpPr>
          <p:spPr>
            <a:xfrm>
              <a:off x="802857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Arrow: Pentagon 13">
              <a:extLst>
                <a:ext uri="{FF2B5EF4-FFF2-40B4-BE49-F238E27FC236}">
                  <a16:creationId xmlns:a16="http://schemas.microsoft.com/office/drawing/2014/main" id="{A9B8D2FA-96DE-435C-8E54-5CE63BB4A7B7}"/>
                </a:ext>
              </a:extLst>
            </p:cNvPr>
            <p:cNvSpPr/>
            <p:nvPr/>
          </p:nvSpPr>
          <p:spPr>
            <a:xfrm>
              <a:off x="738849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Arrow: Pentagon 14">
              <a:extLst>
                <a:ext uri="{FF2B5EF4-FFF2-40B4-BE49-F238E27FC236}">
                  <a16:creationId xmlns:a16="http://schemas.microsoft.com/office/drawing/2014/main" id="{35CC6800-20A4-4730-9AD6-D9BA89728ECE}"/>
                </a:ext>
              </a:extLst>
            </p:cNvPr>
            <p:cNvSpPr/>
            <p:nvPr/>
          </p:nvSpPr>
          <p:spPr>
            <a:xfrm>
              <a:off x="674841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" name="Arrow: Pentagon 11">
              <a:extLst>
                <a:ext uri="{FF2B5EF4-FFF2-40B4-BE49-F238E27FC236}">
                  <a16:creationId xmlns:a16="http://schemas.microsoft.com/office/drawing/2014/main" id="{BEC56B05-9559-47D5-A639-894FDEF6BBDB}"/>
                </a:ext>
              </a:extLst>
            </p:cNvPr>
            <p:cNvSpPr/>
            <p:nvPr/>
          </p:nvSpPr>
          <p:spPr>
            <a:xfrm>
              <a:off x="610833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Arrow: Pentagon 10">
              <a:extLst>
                <a:ext uri="{FF2B5EF4-FFF2-40B4-BE49-F238E27FC236}">
                  <a16:creationId xmlns:a16="http://schemas.microsoft.com/office/drawing/2014/main" id="{0292DD3E-45DC-4EB9-BE56-84DFC2C6B160}"/>
                </a:ext>
              </a:extLst>
            </p:cNvPr>
            <p:cNvSpPr/>
            <p:nvPr/>
          </p:nvSpPr>
          <p:spPr>
            <a:xfrm>
              <a:off x="546825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" name="Arrow: Pentagon 1">
              <a:extLst>
                <a:ext uri="{FF2B5EF4-FFF2-40B4-BE49-F238E27FC236}">
                  <a16:creationId xmlns:a16="http://schemas.microsoft.com/office/drawing/2014/main" id="{7F27AA76-39AB-4210-8E1C-C2F8BE64412A}"/>
                </a:ext>
              </a:extLst>
            </p:cNvPr>
            <p:cNvSpPr/>
            <p:nvPr/>
          </p:nvSpPr>
          <p:spPr>
            <a:xfrm>
              <a:off x="482817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28D1183-8F48-4C66-B347-E2AFCEE716E7}"/>
              </a:ext>
            </a:extLst>
          </p:cNvPr>
          <p:cNvSpPr/>
          <p:nvPr/>
        </p:nvSpPr>
        <p:spPr>
          <a:xfrm>
            <a:off x="6283960" y="2880360"/>
            <a:ext cx="40641" cy="284481"/>
          </a:xfrm>
          <a:custGeom>
            <a:avLst/>
            <a:gdLst/>
            <a:ahLst/>
            <a:cxnLst/>
            <a:rect l="0" t="0" r="0" b="0"/>
            <a:pathLst>
              <a:path w="40641" h="284481">
                <a:moveTo>
                  <a:pt x="0" y="0"/>
                </a:moveTo>
                <a:lnTo>
                  <a:pt x="0" y="0"/>
                </a:lnTo>
                <a:lnTo>
                  <a:pt x="40640" y="142240"/>
                </a:lnTo>
                <a:lnTo>
                  <a:pt x="0" y="284480"/>
                </a:lnTo>
              </a:path>
            </a:pathLst>
          </a:custGeom>
          <a:ln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EEF24080-2449-4A93-A07C-B870F02162BA}"/>
              </a:ext>
            </a:extLst>
          </p:cNvPr>
          <p:cNvSpPr/>
          <p:nvPr/>
        </p:nvSpPr>
        <p:spPr>
          <a:xfrm>
            <a:off x="5443590" y="2880060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1" name="Arrow: Chevron 20">
            <a:extLst>
              <a:ext uri="{FF2B5EF4-FFF2-40B4-BE49-F238E27FC236}">
                <a16:creationId xmlns:a16="http://schemas.microsoft.com/office/drawing/2014/main" id="{5E23735C-E752-460B-B74A-61EA3CB8CFC3}"/>
              </a:ext>
            </a:extLst>
          </p:cNvPr>
          <p:cNvSpPr/>
          <p:nvPr/>
        </p:nvSpPr>
        <p:spPr>
          <a:xfrm>
            <a:off x="6114151" y="2880059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BEC46490-905E-4836-A660-D78566D4373C}"/>
              </a:ext>
            </a:extLst>
          </p:cNvPr>
          <p:cNvSpPr/>
          <p:nvPr/>
        </p:nvSpPr>
        <p:spPr>
          <a:xfrm>
            <a:off x="6723750" y="2880059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9537A3C3-6CE4-4202-95BC-43E72271F23C}"/>
              </a:ext>
            </a:extLst>
          </p:cNvPr>
          <p:cNvSpPr/>
          <p:nvPr/>
        </p:nvSpPr>
        <p:spPr>
          <a:xfrm>
            <a:off x="7394311" y="2880058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A29CDA92-6606-43A3-AF3A-25F00FE67B2A}"/>
              </a:ext>
            </a:extLst>
          </p:cNvPr>
          <p:cNvSpPr/>
          <p:nvPr/>
        </p:nvSpPr>
        <p:spPr>
          <a:xfrm>
            <a:off x="8009649" y="2880058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96887D84-684C-4B29-A43E-A64F86928875}"/>
              </a:ext>
            </a:extLst>
          </p:cNvPr>
          <p:cNvSpPr/>
          <p:nvPr/>
        </p:nvSpPr>
        <p:spPr>
          <a:xfrm>
            <a:off x="8680210" y="2880057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C5B716E1-56B5-463A-99AC-6E3554EF3D62}"/>
              </a:ext>
            </a:extLst>
          </p:cNvPr>
          <p:cNvSpPr/>
          <p:nvPr/>
        </p:nvSpPr>
        <p:spPr>
          <a:xfrm>
            <a:off x="9199914" y="2880057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91B30609-128E-4E59-8B65-CBACBD5151D1}"/>
              </a:ext>
            </a:extLst>
          </p:cNvPr>
          <p:cNvSpPr/>
          <p:nvPr/>
        </p:nvSpPr>
        <p:spPr>
          <a:xfrm>
            <a:off x="9870475" y="2880056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6BC65DDA-B9F8-45C6-8F15-47C85844F46D}"/>
              </a:ext>
            </a:extLst>
          </p:cNvPr>
          <p:cNvGrpSpPr/>
          <p:nvPr/>
        </p:nvGrpSpPr>
        <p:grpSpPr>
          <a:xfrm>
            <a:off x="4858028" y="3377182"/>
            <a:ext cx="5130719" cy="283966"/>
            <a:chOff x="4828171" y="2880575"/>
            <a:chExt cx="5130719" cy="283966"/>
          </a:xfrm>
        </p:grpSpPr>
        <p:sp>
          <p:nvSpPr>
            <p:cNvPr id="29" name="Arrow: Pentagon 28">
              <a:extLst>
                <a:ext uri="{FF2B5EF4-FFF2-40B4-BE49-F238E27FC236}">
                  <a16:creationId xmlns:a16="http://schemas.microsoft.com/office/drawing/2014/main" id="{28CB2BC8-D986-469A-A76C-44A324B80703}"/>
                </a:ext>
              </a:extLst>
            </p:cNvPr>
            <p:cNvSpPr/>
            <p:nvPr/>
          </p:nvSpPr>
          <p:spPr>
            <a:xfrm>
              <a:off x="9209220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Arrow: Pentagon 29">
              <a:extLst>
                <a:ext uri="{FF2B5EF4-FFF2-40B4-BE49-F238E27FC236}">
                  <a16:creationId xmlns:a16="http://schemas.microsoft.com/office/drawing/2014/main" id="{112A0B04-EE5C-4A13-8C75-2D99AEA37E77}"/>
                </a:ext>
              </a:extLst>
            </p:cNvPr>
            <p:cNvSpPr/>
            <p:nvPr/>
          </p:nvSpPr>
          <p:spPr>
            <a:xfrm>
              <a:off x="8569140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Arrow: Pentagon 30">
              <a:extLst>
                <a:ext uri="{FF2B5EF4-FFF2-40B4-BE49-F238E27FC236}">
                  <a16:creationId xmlns:a16="http://schemas.microsoft.com/office/drawing/2014/main" id="{91477EBA-5F6E-43B6-A415-029A79E310CA}"/>
                </a:ext>
              </a:extLst>
            </p:cNvPr>
            <p:cNvSpPr/>
            <p:nvPr/>
          </p:nvSpPr>
          <p:spPr>
            <a:xfrm>
              <a:off x="802857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Arrow: Pentagon 31">
              <a:extLst>
                <a:ext uri="{FF2B5EF4-FFF2-40B4-BE49-F238E27FC236}">
                  <a16:creationId xmlns:a16="http://schemas.microsoft.com/office/drawing/2014/main" id="{1BADCD14-ECA2-4875-B1F7-898F8CA5F8E1}"/>
                </a:ext>
              </a:extLst>
            </p:cNvPr>
            <p:cNvSpPr/>
            <p:nvPr/>
          </p:nvSpPr>
          <p:spPr>
            <a:xfrm>
              <a:off x="738849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Arrow: Pentagon 32">
              <a:extLst>
                <a:ext uri="{FF2B5EF4-FFF2-40B4-BE49-F238E27FC236}">
                  <a16:creationId xmlns:a16="http://schemas.microsoft.com/office/drawing/2014/main" id="{66A9AE12-AFE5-4AE5-92E7-E0B158CCC47D}"/>
                </a:ext>
              </a:extLst>
            </p:cNvPr>
            <p:cNvSpPr/>
            <p:nvPr/>
          </p:nvSpPr>
          <p:spPr>
            <a:xfrm>
              <a:off x="674841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Arrow: Pentagon 33">
              <a:extLst>
                <a:ext uri="{FF2B5EF4-FFF2-40B4-BE49-F238E27FC236}">
                  <a16:creationId xmlns:a16="http://schemas.microsoft.com/office/drawing/2014/main" id="{E9D5789C-54F7-47A1-B621-6ADE4137469D}"/>
                </a:ext>
              </a:extLst>
            </p:cNvPr>
            <p:cNvSpPr/>
            <p:nvPr/>
          </p:nvSpPr>
          <p:spPr>
            <a:xfrm>
              <a:off x="610833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Arrow: Pentagon 34">
              <a:extLst>
                <a:ext uri="{FF2B5EF4-FFF2-40B4-BE49-F238E27FC236}">
                  <a16:creationId xmlns:a16="http://schemas.microsoft.com/office/drawing/2014/main" id="{AB91F550-0AB4-4952-BBB0-BE79D10853F3}"/>
                </a:ext>
              </a:extLst>
            </p:cNvPr>
            <p:cNvSpPr/>
            <p:nvPr/>
          </p:nvSpPr>
          <p:spPr>
            <a:xfrm>
              <a:off x="546825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Arrow: Pentagon 35">
              <a:extLst>
                <a:ext uri="{FF2B5EF4-FFF2-40B4-BE49-F238E27FC236}">
                  <a16:creationId xmlns:a16="http://schemas.microsoft.com/office/drawing/2014/main" id="{3A1E17EF-A6CB-45C2-BB1A-EDEE04CEE8CA}"/>
                </a:ext>
              </a:extLst>
            </p:cNvPr>
            <p:cNvSpPr/>
            <p:nvPr/>
          </p:nvSpPr>
          <p:spPr>
            <a:xfrm>
              <a:off x="482817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7" name="Arrow: Chevron 36">
            <a:extLst>
              <a:ext uri="{FF2B5EF4-FFF2-40B4-BE49-F238E27FC236}">
                <a16:creationId xmlns:a16="http://schemas.microsoft.com/office/drawing/2014/main" id="{56CF8A07-7DD3-43BD-9DCE-4A05198E12E4}"/>
              </a:ext>
            </a:extLst>
          </p:cNvPr>
          <p:cNvSpPr/>
          <p:nvPr/>
        </p:nvSpPr>
        <p:spPr>
          <a:xfrm>
            <a:off x="5476865" y="3374624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8" name="Arrow: Chevron 37">
            <a:extLst>
              <a:ext uri="{FF2B5EF4-FFF2-40B4-BE49-F238E27FC236}">
                <a16:creationId xmlns:a16="http://schemas.microsoft.com/office/drawing/2014/main" id="{6C7BAE37-8D47-47A6-815C-7FFCB2F6478A}"/>
              </a:ext>
            </a:extLst>
          </p:cNvPr>
          <p:cNvSpPr/>
          <p:nvPr/>
        </p:nvSpPr>
        <p:spPr>
          <a:xfrm>
            <a:off x="6122026" y="3374623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FC4CE56F-395C-4ACE-BF99-F36377DED80D}"/>
              </a:ext>
            </a:extLst>
          </p:cNvPr>
          <p:cNvSpPr/>
          <p:nvPr/>
        </p:nvSpPr>
        <p:spPr>
          <a:xfrm>
            <a:off x="6757025" y="3374623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CDE74AD8-AAAD-460D-9F10-505437931334}"/>
              </a:ext>
            </a:extLst>
          </p:cNvPr>
          <p:cNvSpPr/>
          <p:nvPr/>
        </p:nvSpPr>
        <p:spPr>
          <a:xfrm>
            <a:off x="7407266" y="3374622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AC1392BB-7C66-418D-A200-F33FCD1CDC91}"/>
              </a:ext>
            </a:extLst>
          </p:cNvPr>
          <p:cNvSpPr/>
          <p:nvPr/>
        </p:nvSpPr>
        <p:spPr>
          <a:xfrm>
            <a:off x="8042924" y="3374622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2" name="Arrow: Chevron 41">
            <a:extLst>
              <a:ext uri="{FF2B5EF4-FFF2-40B4-BE49-F238E27FC236}">
                <a16:creationId xmlns:a16="http://schemas.microsoft.com/office/drawing/2014/main" id="{3C5C9539-3DBB-4A2E-B181-56793DC232CC}"/>
              </a:ext>
            </a:extLst>
          </p:cNvPr>
          <p:cNvSpPr/>
          <p:nvPr/>
        </p:nvSpPr>
        <p:spPr>
          <a:xfrm>
            <a:off x="8688085" y="3374621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3" name="Arrow: Chevron 42">
            <a:extLst>
              <a:ext uri="{FF2B5EF4-FFF2-40B4-BE49-F238E27FC236}">
                <a16:creationId xmlns:a16="http://schemas.microsoft.com/office/drawing/2014/main" id="{D744D7C1-6E7E-4C9F-92E3-9D4CC440D43B}"/>
              </a:ext>
            </a:extLst>
          </p:cNvPr>
          <p:cNvSpPr/>
          <p:nvPr/>
        </p:nvSpPr>
        <p:spPr>
          <a:xfrm>
            <a:off x="9233189" y="3374621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A03501C6-51F6-4DC2-BF3C-84EB11567127}"/>
              </a:ext>
            </a:extLst>
          </p:cNvPr>
          <p:cNvSpPr/>
          <p:nvPr/>
        </p:nvSpPr>
        <p:spPr>
          <a:xfrm>
            <a:off x="4333911" y="3294148"/>
            <a:ext cx="432000" cy="432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128DADA-73BF-49D0-A501-873975E88C79}"/>
              </a:ext>
            </a:extLst>
          </p:cNvPr>
          <p:cNvSpPr txBox="1"/>
          <p:nvPr/>
        </p:nvSpPr>
        <p:spPr>
          <a:xfrm>
            <a:off x="3192608" y="3104492"/>
            <a:ext cx="5332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:1</a:t>
            </a:r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473F4DCE-465F-460B-96CE-09A5A71A68B5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3004481" y="2830424"/>
            <a:ext cx="891998" cy="886488"/>
          </a:xfrm>
          <a:prstGeom prst="rect">
            <a:avLst/>
          </a:prstGeom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08B4F2D3-79E7-4BC3-89E3-4D9C10A8A205}"/>
              </a:ext>
            </a:extLst>
          </p:cNvPr>
          <p:cNvGrpSpPr/>
          <p:nvPr/>
        </p:nvGrpSpPr>
        <p:grpSpPr>
          <a:xfrm>
            <a:off x="880475" y="2291850"/>
            <a:ext cx="1576070" cy="1967830"/>
            <a:chOff x="1264920" y="4343401"/>
            <a:chExt cx="2171700" cy="2384911"/>
          </a:xfrm>
        </p:grpSpPr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4D2B374C-D064-479E-A633-2BF5FF144700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0" t="30339" r="-2637" b="29284"/>
            <a:stretch/>
          </p:blipFill>
          <p:spPr>
            <a:xfrm>
              <a:off x="1264920" y="4343401"/>
              <a:ext cx="1501140" cy="632460"/>
            </a:xfrm>
            <a:prstGeom prst="rect">
              <a:avLst/>
            </a:prstGeom>
          </p:spPr>
        </p:pic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2EA59E1E-3733-4810-A12B-DD5388D65FC2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1" t="30338" r="50674" b="32872"/>
            <a:stretch/>
          </p:blipFill>
          <p:spPr>
            <a:xfrm>
              <a:off x="2705350" y="4343401"/>
              <a:ext cx="731270" cy="576261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719827F8-E32D-437C-9607-BC6CBE7DC97D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0" t="30339" r="-2637" b="29284"/>
            <a:stretch/>
          </p:blipFill>
          <p:spPr>
            <a:xfrm>
              <a:off x="1264920" y="4919628"/>
              <a:ext cx="1501140" cy="632460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D1F1856F-66EE-4277-BEA2-4C392E1A565F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1" t="30338" r="50674" b="32872"/>
            <a:stretch/>
          </p:blipFill>
          <p:spPr>
            <a:xfrm>
              <a:off x="2705350" y="4919628"/>
              <a:ext cx="731270" cy="576261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B28B7CAA-3317-4FF6-A29D-2CD3A9451BCF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0" t="30339" r="-2637" b="29284"/>
            <a:stretch/>
          </p:blipFill>
          <p:spPr>
            <a:xfrm>
              <a:off x="1264920" y="5519625"/>
              <a:ext cx="1501140" cy="632460"/>
            </a:xfrm>
            <a:prstGeom prst="rect">
              <a:avLst/>
            </a:prstGeom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7704602A-7833-4B44-A461-1F3E7337E55E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1" t="30338" r="50674" b="32872"/>
            <a:stretch/>
          </p:blipFill>
          <p:spPr>
            <a:xfrm>
              <a:off x="2705350" y="5519625"/>
              <a:ext cx="731270" cy="576261"/>
            </a:xfrm>
            <a:prstGeom prst="rect">
              <a:avLst/>
            </a:prstGeom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F625F3DE-4251-4ACF-B356-6FA72A15A5EF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0" t="30339" r="-2637" b="29284"/>
            <a:stretch/>
          </p:blipFill>
          <p:spPr>
            <a:xfrm>
              <a:off x="1264920" y="6095852"/>
              <a:ext cx="1501140" cy="632460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9F06A932-6292-4E75-9154-75962C509F18}"/>
                </a:ext>
              </a:extLst>
            </p:cNvPr>
            <p:cNvPicPr>
              <a:picLocks/>
            </p:cNvPicPr>
            <p:nvPr/>
          </p:nvPicPr>
          <p:blipFill rotWithShape="1">
            <a:blip r:embed="rId8"/>
            <a:srcRect l="-1311" t="30338" r="50674" b="32872"/>
            <a:stretch/>
          </p:blipFill>
          <p:spPr>
            <a:xfrm>
              <a:off x="2705350" y="6095852"/>
              <a:ext cx="731270" cy="576261"/>
            </a:xfrm>
            <a:prstGeom prst="rect">
              <a:avLst/>
            </a:prstGeom>
          </p:spPr>
        </p:pic>
      </p:grpSp>
      <p:sp>
        <p:nvSpPr>
          <p:cNvPr id="68" name="Rectangle 67">
            <a:extLst>
              <a:ext uri="{FF2B5EF4-FFF2-40B4-BE49-F238E27FC236}">
                <a16:creationId xmlns:a16="http://schemas.microsoft.com/office/drawing/2014/main" id="{F740CA59-976A-498B-A31B-F74938486187}"/>
              </a:ext>
            </a:extLst>
          </p:cNvPr>
          <p:cNvSpPr/>
          <p:nvPr/>
        </p:nvSpPr>
        <p:spPr>
          <a:xfrm>
            <a:off x="846382" y="2258835"/>
            <a:ext cx="1704942" cy="2231571"/>
          </a:xfrm>
          <a:prstGeom prst="rect">
            <a:avLst/>
          </a:prstGeom>
          <a:gradFill flip="none" rotWithShape="1">
            <a:gsLst>
              <a:gs pos="96000">
                <a:schemeClr val="bg1">
                  <a:lumMod val="75000"/>
                  <a:alpha val="0"/>
                </a:schemeClr>
              </a:gs>
              <a:gs pos="47000">
                <a:schemeClr val="bg1">
                  <a:lumMod val="95000"/>
                  <a:alpha val="81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46624F9C-CC42-498A-8255-2C380E279F7D}"/>
              </a:ext>
            </a:extLst>
          </p:cNvPr>
          <p:cNvSpPr/>
          <p:nvPr/>
        </p:nvSpPr>
        <p:spPr>
          <a:xfrm>
            <a:off x="978487" y="2595310"/>
            <a:ext cx="1448370" cy="136580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9" name="Picture 68">
            <a:extLst>
              <a:ext uri="{FF2B5EF4-FFF2-40B4-BE49-F238E27FC236}">
                <a16:creationId xmlns:a16="http://schemas.microsoft.com/office/drawing/2014/main" id="{78230961-FB0D-44CD-AF93-78D39FC86EF2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1065168" y="2495610"/>
            <a:ext cx="1275007" cy="1529755"/>
          </a:xfrm>
          <a:prstGeom prst="rect">
            <a:avLst/>
          </a:prstGeom>
        </p:spPr>
      </p:pic>
      <p:grpSp>
        <p:nvGrpSpPr>
          <p:cNvPr id="72" name="Group 71">
            <a:extLst>
              <a:ext uri="{FF2B5EF4-FFF2-40B4-BE49-F238E27FC236}">
                <a16:creationId xmlns:a16="http://schemas.microsoft.com/office/drawing/2014/main" id="{77BDC074-2896-4C7A-8BB3-27D2D6A66AE6}"/>
              </a:ext>
            </a:extLst>
          </p:cNvPr>
          <p:cNvGrpSpPr/>
          <p:nvPr/>
        </p:nvGrpSpPr>
        <p:grpSpPr>
          <a:xfrm>
            <a:off x="4315030" y="2788296"/>
            <a:ext cx="469763" cy="432000"/>
            <a:chOff x="4330069" y="2072245"/>
            <a:chExt cx="432001" cy="43200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5212FCC7-7F4A-4D8C-9C0C-3E8C4B38845E}"/>
                </a:ext>
              </a:extLst>
            </p:cNvPr>
            <p:cNvSpPr/>
            <p:nvPr/>
          </p:nvSpPr>
          <p:spPr>
            <a:xfrm>
              <a:off x="4330069" y="2072245"/>
              <a:ext cx="432000" cy="4320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234BE159-750B-445E-979F-3F151B5E4A70}"/>
                </a:ext>
              </a:extLst>
            </p:cNvPr>
            <p:cNvPicPr>
              <a:picLocks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330069" y="2103579"/>
              <a:ext cx="432001" cy="369332"/>
            </a:xfrm>
            <a:prstGeom prst="rect">
              <a:avLst/>
            </a:prstGeom>
          </p:spPr>
        </p:pic>
      </p:grpSp>
      <p:pic>
        <p:nvPicPr>
          <p:cNvPr id="74" name="Picture 73">
            <a:extLst>
              <a:ext uri="{FF2B5EF4-FFF2-40B4-BE49-F238E27FC236}">
                <a16:creationId xmlns:a16="http://schemas.microsoft.com/office/drawing/2014/main" id="{37184B1B-AFBA-4738-9434-1EDE135E6062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4321570" y="3325482"/>
            <a:ext cx="469763" cy="369332"/>
          </a:xfrm>
          <a:prstGeom prst="rect">
            <a:avLst/>
          </a:prstGeom>
        </p:spPr>
      </p:pic>
      <p:cxnSp>
        <p:nvCxnSpPr>
          <p:cNvPr id="75" name="Connector: Elbow 74">
            <a:extLst>
              <a:ext uri="{FF2B5EF4-FFF2-40B4-BE49-F238E27FC236}">
                <a16:creationId xmlns:a16="http://schemas.microsoft.com/office/drawing/2014/main" id="{FCCC2DC0-44FB-4019-B13B-1E4FA87D2911}"/>
              </a:ext>
            </a:extLst>
          </p:cNvPr>
          <p:cNvCxnSpPr>
            <a:cxnSpLocks/>
            <a:endCxn id="20" idx="2"/>
          </p:cNvCxnSpPr>
          <p:nvPr/>
        </p:nvCxnSpPr>
        <p:spPr>
          <a:xfrm flipV="1">
            <a:off x="3926580" y="3004296"/>
            <a:ext cx="388450" cy="212909"/>
          </a:xfrm>
          <a:prstGeom prst="bentConnector3">
            <a:avLst>
              <a:gd name="adj1" fmla="val 8138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6BFAC940-0EEE-4488-A5E3-8E8A593AA225}"/>
              </a:ext>
            </a:extLst>
          </p:cNvPr>
          <p:cNvCxnSpPr>
            <a:cxnSpLocks/>
            <a:endCxn id="74" idx="1"/>
          </p:cNvCxnSpPr>
          <p:nvPr/>
        </p:nvCxnSpPr>
        <p:spPr>
          <a:xfrm>
            <a:off x="3939919" y="3289158"/>
            <a:ext cx="381651" cy="220990"/>
          </a:xfrm>
          <a:prstGeom prst="bentConnector3">
            <a:avLst>
              <a:gd name="adj1" fmla="val 7695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Picture 87">
            <a:extLst>
              <a:ext uri="{FF2B5EF4-FFF2-40B4-BE49-F238E27FC236}">
                <a16:creationId xmlns:a16="http://schemas.microsoft.com/office/drawing/2014/main" id="{0EDADC83-C455-4353-B368-1C6323D4221F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10119883" y="2534251"/>
            <a:ext cx="873335" cy="859420"/>
          </a:xfrm>
          <a:prstGeom prst="rect">
            <a:avLst/>
          </a:prstGeom>
        </p:spPr>
      </p:pic>
      <p:pic>
        <p:nvPicPr>
          <p:cNvPr id="89" name="Picture 88">
            <a:extLst>
              <a:ext uri="{FF2B5EF4-FFF2-40B4-BE49-F238E27FC236}">
                <a16:creationId xmlns:a16="http://schemas.microsoft.com/office/drawing/2014/main" id="{0A591A9F-FDB4-420F-9852-2BE12FC85F5F}"/>
              </a:ext>
            </a:extLst>
          </p:cNvPr>
          <p:cNvPicPr>
            <a:picLocks/>
          </p:cNvPicPr>
          <p:nvPr/>
        </p:nvPicPr>
        <p:blipFill>
          <a:blip r:embed="rId12"/>
          <a:stretch>
            <a:fillRect/>
          </a:stretch>
        </p:blipFill>
        <p:spPr>
          <a:xfrm>
            <a:off x="10071409" y="2491678"/>
            <a:ext cx="959344" cy="944565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E806BA68-7713-4831-8DCF-15F15ECE05D9}"/>
              </a:ext>
            </a:extLst>
          </p:cNvPr>
          <p:cNvSpPr txBox="1"/>
          <p:nvPr/>
        </p:nvSpPr>
        <p:spPr>
          <a:xfrm>
            <a:off x="10191769" y="2779294"/>
            <a:ext cx="7411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OP</a:t>
            </a:r>
            <a:endParaRPr lang="ru-RU" dirty="0">
              <a:solidFill>
                <a:schemeClr val="bg1"/>
              </a:solidFill>
            </a:endParaRP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2678F64-786E-487C-9E64-895E51D813F0}"/>
              </a:ext>
            </a:extLst>
          </p:cNvPr>
          <p:cNvCxnSpPr>
            <a:cxnSpLocks/>
          </p:cNvCxnSpPr>
          <p:nvPr/>
        </p:nvCxnSpPr>
        <p:spPr>
          <a:xfrm flipV="1">
            <a:off x="10551081" y="3393671"/>
            <a:ext cx="10081" cy="553489"/>
          </a:xfrm>
          <a:prstGeom prst="line">
            <a:avLst/>
          </a:prstGeom>
          <a:ln w="825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F4C78569-0450-427B-9562-0674FA9CFC75}"/>
              </a:ext>
            </a:extLst>
          </p:cNvPr>
          <p:cNvSpPr/>
          <p:nvPr/>
        </p:nvSpPr>
        <p:spPr>
          <a:xfrm>
            <a:off x="10070371" y="3489362"/>
            <a:ext cx="1143142" cy="38830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4,9 года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C5E962C1-E256-4173-A9E8-1DFD0F00A016}"/>
              </a:ext>
            </a:extLst>
          </p:cNvPr>
          <p:cNvSpPr txBox="1"/>
          <p:nvPr/>
        </p:nvSpPr>
        <p:spPr>
          <a:xfrm>
            <a:off x="645294" y="1836462"/>
            <a:ext cx="2075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скрининг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94D433B3-E813-425B-9C86-E1CBEFFEA05B}"/>
              </a:ext>
            </a:extLst>
          </p:cNvPr>
          <p:cNvSpPr txBox="1"/>
          <p:nvPr/>
        </p:nvSpPr>
        <p:spPr>
          <a:xfrm>
            <a:off x="2416883" y="3757439"/>
            <a:ext cx="2075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4472C4"/>
                </a:solidFill>
              </a:rPr>
              <a:t>рандомизация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55B59379-07A8-4630-BCA7-2C9D723DE47C}"/>
              </a:ext>
            </a:extLst>
          </p:cNvPr>
          <p:cNvSpPr txBox="1"/>
          <p:nvPr/>
        </p:nvSpPr>
        <p:spPr>
          <a:xfrm>
            <a:off x="2769291" y="2415867"/>
            <a:ext cx="13705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N</a:t>
            </a:r>
            <a:r>
              <a:rPr lang="ru-RU" dirty="0"/>
              <a:t> </a:t>
            </a:r>
            <a:r>
              <a:rPr lang="en-US" dirty="0"/>
              <a:t>=</a:t>
            </a:r>
            <a:r>
              <a:rPr lang="ru-RU" dirty="0"/>
              <a:t>8179 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42315E-66FD-4B88-86DA-CA1B3352F5C9}"/>
              </a:ext>
            </a:extLst>
          </p:cNvPr>
          <p:cNvSpPr/>
          <p:nvPr/>
        </p:nvSpPr>
        <p:spPr>
          <a:xfrm>
            <a:off x="521273" y="4496375"/>
            <a:ext cx="38126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установленное сердечно-сосудистое заболевание или диабет и другие факторы риска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9D43794-349E-4DD3-9028-C3D302317FE6}"/>
              </a:ext>
            </a:extLst>
          </p:cNvPr>
          <p:cNvSpPr/>
          <p:nvPr/>
        </p:nvSpPr>
        <p:spPr>
          <a:xfrm>
            <a:off x="9773441" y="4074810"/>
            <a:ext cx="19136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Медиана наблюдения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78975E7-D77A-4771-95C3-8115B398EA73}"/>
              </a:ext>
            </a:extLst>
          </p:cNvPr>
          <p:cNvSpPr/>
          <p:nvPr/>
        </p:nvSpPr>
        <p:spPr>
          <a:xfrm>
            <a:off x="521273" y="555511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70,7% пациентов -  вторичная профилактика сердечно-сосудистых событий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3E236A9C-6815-4384-A695-59B0F05CD865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9574747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6132C83-6F9F-4D12-BB44-4F22374DE0A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5743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6" imgW="362" imgH="362" progId="TCLayout.ActiveDocument.1">
                  <p:embed/>
                </p:oleObj>
              </mc:Choice>
              <mc:Fallback>
                <p:oleObj name="think-cell Slide" r:id="rId6" imgW="362" imgH="36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6132C83-6F9F-4D12-BB44-4F22374DE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2859110-7514-4131-B96B-D373F3131F3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0F82643-7CB9-4413-A637-2062F00EC692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3154680" y="765330"/>
            <a:ext cx="6157665" cy="527385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2749AAF-28C4-4F0F-B733-167F29583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F9096-8ED8-4F14-8F69-892A89853C22}" type="slidenum">
              <a:rPr lang="ru-RU" smtClean="0"/>
              <a:pPr/>
              <a:t>33</a:t>
            </a:fld>
            <a:endParaRPr lang="ru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BE62C44-EFDE-4267-95E2-B2B67E5B7A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REDUCE-IT</a:t>
            </a:r>
            <a:r>
              <a:rPr lang="ru-RU" sz="2800" dirty="0"/>
              <a:t>: конечные точки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50CBF1E-43BF-41F1-A385-1B40E5FBCB76}"/>
              </a:ext>
            </a:extLst>
          </p:cNvPr>
          <p:cNvSpPr txBox="1"/>
          <p:nvPr/>
        </p:nvSpPr>
        <p:spPr>
          <a:xfrm>
            <a:off x="1663546" y="2534804"/>
            <a:ext cx="2599981" cy="341898"/>
          </a:xfrm>
          <a:prstGeom prst="rect">
            <a:avLst/>
          </a:prstGeom>
          <a:solidFill>
            <a:schemeClr val="bg1"/>
          </a:solidFill>
          <a:effectLst>
            <a:outerShdw dist="25400" dir="5400000" sx="99000" sy="99000" algn="t" rotWithShape="0">
              <a:srgbClr val="BD2553"/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ru-RU" sz="1200" dirty="0"/>
              <a:t>ПЕРВИЧНАЯ КОНЕЧНАЯ ТОЧ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02B2CCE-5954-48A3-ADE9-34D2FFA617D8}"/>
              </a:ext>
            </a:extLst>
          </p:cNvPr>
          <p:cNvSpPr txBox="1"/>
          <p:nvPr/>
        </p:nvSpPr>
        <p:spPr>
          <a:xfrm>
            <a:off x="7928473" y="2534804"/>
            <a:ext cx="2599981" cy="341898"/>
          </a:xfrm>
          <a:prstGeom prst="rect">
            <a:avLst/>
          </a:prstGeom>
          <a:solidFill>
            <a:schemeClr val="bg1"/>
          </a:solidFill>
          <a:effectLst>
            <a:outerShdw dist="25400" dir="5400000" sx="99000" sy="99000" algn="t" rotWithShape="0">
              <a:srgbClr val="004081"/>
            </a:outerShdw>
          </a:effectLst>
        </p:spPr>
        <p:txBody>
          <a:bodyPr wrap="square" rtlCol="0">
            <a:noAutofit/>
          </a:bodyPr>
          <a:lstStyle/>
          <a:p>
            <a:pPr algn="ctr"/>
            <a:r>
              <a:rPr lang="ru-RU" sz="1200" dirty="0"/>
              <a:t>ВТОРИЧЫЕ КОНЕЧНЫЕ ТОЧКИ</a:t>
            </a:r>
          </a:p>
        </p:txBody>
      </p:sp>
      <p:sp>
        <p:nvSpPr>
          <p:cNvPr id="4" name="Chord 3">
            <a:extLst>
              <a:ext uri="{FF2B5EF4-FFF2-40B4-BE49-F238E27FC236}">
                <a16:creationId xmlns:a16="http://schemas.microsoft.com/office/drawing/2014/main" id="{66A3A7F3-F70C-4652-8C9D-EE5F24ABD5A4}"/>
              </a:ext>
            </a:extLst>
          </p:cNvPr>
          <p:cNvSpPr/>
          <p:nvPr/>
        </p:nvSpPr>
        <p:spPr>
          <a:xfrm rot="3079401">
            <a:off x="4904915" y="2554906"/>
            <a:ext cx="2300314" cy="2297594"/>
          </a:xfrm>
          <a:prstGeom prst="chord">
            <a:avLst>
              <a:gd name="adj1" fmla="val 3020290"/>
              <a:gd name="adj2" fmla="val 13935282"/>
            </a:avLst>
          </a:prstGeom>
          <a:solidFill>
            <a:srgbClr val="BD2553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3AD44A-20B7-4E29-8823-FC53A74DF8FF}"/>
              </a:ext>
            </a:extLst>
          </p:cNvPr>
          <p:cNvSpPr/>
          <p:nvPr/>
        </p:nvSpPr>
        <p:spPr>
          <a:xfrm>
            <a:off x="4759672" y="2408302"/>
            <a:ext cx="2590800" cy="2590801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2A93149-630B-4D19-9BDA-A02A025282F6}"/>
              </a:ext>
            </a:extLst>
          </p:cNvPr>
          <p:cNvSpPr txBox="1"/>
          <p:nvPr/>
        </p:nvSpPr>
        <p:spPr>
          <a:xfrm>
            <a:off x="6979924" y="3097611"/>
            <a:ext cx="4664842" cy="1260693"/>
          </a:xfrm>
          <a:prstGeom prst="rect">
            <a:avLst/>
          </a:prstGeom>
          <a:solidFill>
            <a:srgbClr val="004081"/>
          </a:solidFill>
        </p:spPr>
        <p:txBody>
          <a:bodyPr wrap="square" rtlCol="0" anchor="ctr">
            <a:noAutofit/>
          </a:bodyPr>
          <a:lstStyle/>
          <a:p>
            <a:pPr marL="354013"/>
            <a:r>
              <a:rPr lang="ru-RU" dirty="0">
                <a:solidFill>
                  <a:schemeClr val="bg1"/>
                </a:solidFill>
              </a:rPr>
              <a:t>Ключевая вторичная конечная точка была составной (сердечно-сосудистая </a:t>
            </a:r>
            <a:r>
              <a:rPr lang="en-US" sz="2400" dirty="0">
                <a:solidFill>
                  <a:schemeClr val="bg1"/>
                </a:solidFill>
                <a:sym typeface="Wingdings" panose="05000000000000000000" pitchFamily="2" charset="2"/>
              </a:rPr>
              <a:t></a:t>
            </a:r>
            <a:r>
              <a:rPr lang="ru-RU" dirty="0">
                <a:solidFill>
                  <a:schemeClr val="bg1"/>
                </a:solidFill>
              </a:rPr>
              <a:t>, нефатальный инфаркт миокарда или нефатальный инсульт.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Chord 11">
            <a:extLst>
              <a:ext uri="{FF2B5EF4-FFF2-40B4-BE49-F238E27FC236}">
                <a16:creationId xmlns:a16="http://schemas.microsoft.com/office/drawing/2014/main" id="{B482A39C-DBA8-4CF2-B12A-CE5B01D1F62B}"/>
              </a:ext>
            </a:extLst>
          </p:cNvPr>
          <p:cNvSpPr/>
          <p:nvPr/>
        </p:nvSpPr>
        <p:spPr>
          <a:xfrm rot="13896282">
            <a:off x="4904915" y="2554907"/>
            <a:ext cx="2300314" cy="2297594"/>
          </a:xfrm>
          <a:prstGeom prst="chord">
            <a:avLst>
              <a:gd name="adj1" fmla="val 3020290"/>
              <a:gd name="adj2" fmla="val 13935282"/>
            </a:avLst>
          </a:prstGeom>
          <a:solidFill>
            <a:srgbClr val="00408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3798CE-4F05-4239-91F0-9C81DB3C3272}"/>
              </a:ext>
            </a:extLst>
          </p:cNvPr>
          <p:cNvSpPr txBox="1"/>
          <p:nvPr/>
        </p:nvSpPr>
        <p:spPr>
          <a:xfrm>
            <a:off x="609600" y="3109521"/>
            <a:ext cx="4602479" cy="1260693"/>
          </a:xfrm>
          <a:prstGeom prst="rect">
            <a:avLst/>
          </a:prstGeom>
          <a:solidFill>
            <a:srgbClr val="BD2553"/>
          </a:solidFill>
        </p:spPr>
        <p:txBody>
          <a:bodyPr wrap="square" rtlCol="0" anchor="ctr">
            <a:no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Сердечно-сосудистая</a:t>
            </a:r>
            <a:r>
              <a:rPr lang="ru-RU" sz="2400" dirty="0">
                <a:solidFill>
                  <a:schemeClr val="bg1"/>
                </a:solidFill>
              </a:rPr>
              <a:t> </a:t>
            </a:r>
            <a:r>
              <a:rPr lang="en-US" sz="3200" dirty="0">
                <a:solidFill>
                  <a:schemeClr val="bg1"/>
                </a:solidFill>
                <a:sym typeface="Wingdings" panose="05000000000000000000" pitchFamily="2" charset="2"/>
              </a:rPr>
              <a:t></a:t>
            </a:r>
            <a:r>
              <a:rPr lang="ru-RU" sz="2400" dirty="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, нефатальный инфаркт миокарда, нефатальный инсульт, коронарная реваскуляризация или нестабильная стенокардия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D3C658F-158C-486C-88FA-EB42FB175469}"/>
              </a:ext>
            </a:extLst>
          </p:cNvPr>
          <p:cNvCxnSpPr>
            <a:cxnSpLocks/>
            <a:endCxn id="9" idx="2"/>
          </p:cNvCxnSpPr>
          <p:nvPr/>
        </p:nvCxnSpPr>
        <p:spPr>
          <a:xfrm flipV="1">
            <a:off x="2963537" y="2876702"/>
            <a:ext cx="0" cy="20239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85A5C05-99F4-4584-95DD-9AEF15C5A828}"/>
              </a:ext>
            </a:extLst>
          </p:cNvPr>
          <p:cNvCxnSpPr>
            <a:cxnSpLocks/>
          </p:cNvCxnSpPr>
          <p:nvPr/>
        </p:nvCxnSpPr>
        <p:spPr>
          <a:xfrm flipV="1">
            <a:off x="9367385" y="2882798"/>
            <a:ext cx="0" cy="202391"/>
          </a:xfrm>
          <a:prstGeom prst="line">
            <a:avLst/>
          </a:prstGeom>
          <a:ln w="19050">
            <a:solidFill>
              <a:srgbClr val="0040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phic 18" descr="Checklist">
            <a:extLst>
              <a:ext uri="{FF2B5EF4-FFF2-40B4-BE49-F238E27FC236}">
                <a16:creationId xmlns:a16="http://schemas.microsoft.com/office/drawing/2014/main" id="{2F1041FF-DD43-4822-B7AA-F057687CF3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096000" y="3532036"/>
            <a:ext cx="914400" cy="9144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5B2CB263-D994-441D-9DE1-264930613036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5197404" y="2977896"/>
            <a:ext cx="843556" cy="794003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E731CAC6-B8CE-4E25-AD3A-00B2A11A8573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7424359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ED4C92E-0FA6-4563-A75F-872CA5A9551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5228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6" imgW="362" imgH="362" progId="TCLayout.ActiveDocument.1">
                  <p:embed/>
                </p:oleObj>
              </mc:Choice>
              <mc:Fallback>
                <p:oleObj name="think-cell Slide" r:id="rId6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ED4C92E-0FA6-4563-A75F-872CA5A955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694981E-5870-47D9-81E4-B7718BDC8A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800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B34355-66E5-4ED9-84D9-063B1DB58F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800" dirty="0"/>
              <a:t>REDUCE-IT</a:t>
            </a:r>
            <a:r>
              <a:rPr lang="ru-RU" sz="2800" dirty="0"/>
              <a:t>: Популяция пациентов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B948B4-78DC-40E0-9AF3-E5F156CD984D}"/>
              </a:ext>
            </a:extLst>
          </p:cNvPr>
          <p:cNvSpPr/>
          <p:nvPr/>
        </p:nvSpPr>
        <p:spPr>
          <a:xfrm flipV="1">
            <a:off x="1835007" y="1908264"/>
            <a:ext cx="4172254" cy="338529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4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3C4231C-840C-48A7-9D37-1F56237A77F6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7762568" y="1599986"/>
            <a:ext cx="3495368" cy="3657600"/>
          </a:xfrm>
          <a:prstGeom prst="rect">
            <a:avLst/>
          </a:prstGeom>
        </p:spPr>
      </p:pic>
      <p:pic>
        <p:nvPicPr>
          <p:cNvPr id="14" name="Graphic 13" descr="Checkmark">
            <a:extLst>
              <a:ext uri="{FF2B5EF4-FFF2-40B4-BE49-F238E27FC236}">
                <a16:creationId xmlns:a16="http://schemas.microsoft.com/office/drawing/2014/main" id="{ED099845-7DA8-4DDB-8ECF-3E226D891C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593129" y="1973724"/>
            <a:ext cx="914400" cy="914400"/>
          </a:xfrm>
          <a:prstGeom prst="rect">
            <a:avLst/>
          </a:prstGeom>
        </p:spPr>
      </p:pic>
      <p:pic>
        <p:nvPicPr>
          <p:cNvPr id="15" name="Graphic 14" descr="Close">
            <a:extLst>
              <a:ext uri="{FF2B5EF4-FFF2-40B4-BE49-F238E27FC236}">
                <a16:creationId xmlns:a16="http://schemas.microsoft.com/office/drawing/2014/main" id="{7BAB6188-A629-4C94-BFAF-01A209C7E96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843437" y="1973724"/>
            <a:ext cx="914400" cy="9144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6B687018-3EDE-4141-9FE6-3C43FE478AE7}"/>
              </a:ext>
            </a:extLst>
          </p:cNvPr>
          <p:cNvSpPr/>
          <p:nvPr/>
        </p:nvSpPr>
        <p:spPr>
          <a:xfrm>
            <a:off x="7762568" y="3586055"/>
            <a:ext cx="3495368" cy="2775586"/>
          </a:xfrm>
          <a:prstGeom prst="rect">
            <a:avLst/>
          </a:prstGeom>
          <a:solidFill>
            <a:schemeClr val="lt1">
              <a:alpha val="71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dirty="0">
                <a:solidFill>
                  <a:prstClr val="black"/>
                </a:solidFill>
              </a:rPr>
              <a:t>СН,  о. заболевания печени, </a:t>
            </a:r>
            <a:r>
              <a:rPr lang="en-US" dirty="0">
                <a:solidFill>
                  <a:prstClr val="black"/>
                </a:solidFill>
              </a:rPr>
              <a:t>A1c</a:t>
            </a:r>
            <a:r>
              <a:rPr lang="ru-RU" dirty="0"/>
              <a:t> ≥</a:t>
            </a:r>
            <a:r>
              <a:rPr lang="en-US" dirty="0"/>
              <a:t>10% </a:t>
            </a:r>
            <a:r>
              <a:rPr lang="ru-RU" dirty="0"/>
              <a:t>планируемое коронарное вмешательство, острый или хронический панкреатит в анамнезе, аллергия на рыбу</a:t>
            </a:r>
            <a:endParaRPr lang="ru-RU" dirty="0">
              <a:solidFill>
                <a:prstClr val="black"/>
              </a:solidFill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8D78F2F-FB27-4BDB-A6EC-B695BBAC42D4}"/>
              </a:ext>
            </a:extLst>
          </p:cNvPr>
          <p:cNvCxnSpPr/>
          <p:nvPr/>
        </p:nvCxnSpPr>
        <p:spPr>
          <a:xfrm flipH="1">
            <a:off x="6007261" y="2590800"/>
            <a:ext cx="7135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5BB0BC4B-2E88-47E6-A6AA-5623C3E7258F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2264290" y="1635962"/>
            <a:ext cx="3495368" cy="365760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83D63245-5FA3-4F61-84EA-CBE4146E4582}"/>
              </a:ext>
            </a:extLst>
          </p:cNvPr>
          <p:cNvSpPr/>
          <p:nvPr/>
        </p:nvSpPr>
        <p:spPr>
          <a:xfrm>
            <a:off x="236202" y="2833701"/>
            <a:ext cx="5775192" cy="752354"/>
          </a:xfrm>
          <a:prstGeom prst="rect">
            <a:avLst/>
          </a:prstGeom>
          <a:solidFill>
            <a:schemeClr val="accent1">
              <a:alpha val="71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/>
              <a:t>Множественные факторы риска ССЗ или ССЗ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D699C19-A083-4253-9187-083EDF77C10B}"/>
              </a:ext>
            </a:extLst>
          </p:cNvPr>
          <p:cNvSpPr/>
          <p:nvPr/>
        </p:nvSpPr>
        <p:spPr>
          <a:xfrm>
            <a:off x="236202" y="3586056"/>
            <a:ext cx="5775192" cy="2632944"/>
          </a:xfrm>
          <a:prstGeom prst="rect">
            <a:avLst/>
          </a:prstGeom>
          <a:solidFill>
            <a:schemeClr val="bg1">
              <a:alpha val="71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dirty="0"/>
              <a:t>≥45 лет+ ССЗ </a:t>
            </a:r>
          </a:p>
          <a:p>
            <a:r>
              <a:rPr lang="ru-RU" dirty="0"/>
              <a:t>или </a:t>
            </a:r>
          </a:p>
          <a:p>
            <a:r>
              <a:rPr lang="ru-RU" dirty="0"/>
              <a:t>≥ 50 лет + сахарный диабет + ≥1 дополнительный фактор рис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Статины ≥ 4 нед 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Триглицерид</a:t>
            </a:r>
            <a:r>
              <a:rPr lang="en-US" dirty="0"/>
              <a:t>s</a:t>
            </a:r>
            <a:r>
              <a:rPr lang="ru-RU" dirty="0"/>
              <a:t> натощак от 135 до 499 мг на децилитр (от 1,52 до 5,63 ммоль на литр) 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ЛПНП</a:t>
            </a:r>
            <a:r>
              <a:rPr lang="en-US" dirty="0"/>
              <a:t> </a:t>
            </a:r>
            <a:r>
              <a:rPr lang="ru-RU" dirty="0"/>
              <a:t>от 41 до 100 мг на децилитр (от 1,06 до 2,59 ммоль на литр )</a:t>
            </a:r>
            <a:endParaRPr lang="ru-RU" sz="1400" dirty="0"/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361BC693-287A-46B3-8528-92B1F08D7D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09769" y="1489122"/>
            <a:ext cx="1281120" cy="533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253920" rIns="91440" bIns="0" numCol="1" anchor="ctr" anchorCtr="0" compatLnSpc="1">
            <a:prstTxWarp prst="textNoShape">
              <a:avLst/>
            </a:prstTxWarp>
            <a:sp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800"/>
              <a:t>включены</a:t>
            </a:r>
            <a:endParaRPr lang="ru-RU" altLang="ru-RU" sz="20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angle 3">
            <a:extLst>
              <a:ext uri="{FF2B5EF4-FFF2-40B4-BE49-F238E27FC236}">
                <a16:creationId xmlns:a16="http://schemas.microsoft.com/office/drawing/2014/main" id="{7A356CBA-A808-4033-A991-2445D86E11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567227" y="1404777"/>
            <a:ext cx="1402948" cy="5333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253920" rIns="91440" bIns="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None/>
              <a:defRPr lang="en-US" sz="1050" kern="1200" cap="none" baseline="0">
                <a:solidFill>
                  <a:schemeClr val="accent1">
                    <a:lumMod val="75000"/>
                  </a:schemeClr>
                </a:solidFill>
                <a:latin typeface="DINPro-Medium" panose="02000503030000020004" pitchFamily="50" charset="0"/>
                <a:ea typeface="+mj-ea"/>
                <a:cs typeface="+mj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40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800" dirty="0"/>
              <a:t>исключены</a:t>
            </a:r>
            <a:endParaRPr lang="ru-RU" altLang="ru-RU" sz="20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816B5EE-7A08-48B6-9475-09B4EDFE0A49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302240385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6C356C-A6A7-4FA5-AF2E-D17D40896C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2126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6C356C-A6A7-4FA5-AF2E-D17D40896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C583F20-8BE8-4BCF-ACE3-8ABD57EC8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E-IT</a:t>
            </a:r>
            <a:endParaRPr lang="ru-R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C3DF4E-AAC1-40F9-9755-81D3C4738C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2712" y="1903046"/>
            <a:ext cx="6886575" cy="444817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00D08B8-6D3F-4B48-BAF8-1EB5608F6062}"/>
              </a:ext>
            </a:extLst>
          </p:cNvPr>
          <p:cNvSpPr txBox="1"/>
          <p:nvPr/>
        </p:nvSpPr>
        <p:spPr>
          <a:xfrm>
            <a:off x="1" y="989469"/>
            <a:ext cx="12192000" cy="775507"/>
          </a:xfrm>
          <a:prstGeom prst="rect">
            <a:avLst/>
          </a:prstGeom>
          <a:solidFill>
            <a:srgbClr val="BD2553"/>
          </a:solidFill>
        </p:spPr>
        <p:txBody>
          <a:bodyPr wrap="square" rtlCol="0" anchor="ctr">
            <a:no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Сердечно-сосудистая</a:t>
            </a:r>
            <a:r>
              <a:rPr lang="ru-RU" sz="2400" dirty="0">
                <a:solidFill>
                  <a:schemeClr val="bg1"/>
                </a:solidFill>
              </a:rPr>
              <a:t> </a:t>
            </a:r>
            <a:r>
              <a:rPr lang="en-US" sz="3200" dirty="0">
                <a:solidFill>
                  <a:schemeClr val="bg1"/>
                </a:solidFill>
                <a:sym typeface="Wingdings" panose="05000000000000000000" pitchFamily="2" charset="2"/>
              </a:rPr>
              <a:t></a:t>
            </a:r>
            <a:r>
              <a:rPr lang="ru-RU" sz="2400" dirty="0">
                <a:solidFill>
                  <a:schemeClr val="bg1"/>
                </a:solidFill>
                <a:sym typeface="Wingdings" panose="05000000000000000000" pitchFamily="2" charset="2"/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, нефатальный инфаркт миокарда, нефатальный инсульт, коронарная реваскуляризация или нестабильная стенокардия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E3761F-9EC3-43BE-BDEC-5D1E74A252FF}"/>
              </a:ext>
            </a:extLst>
          </p:cNvPr>
          <p:cNvSpPr/>
          <p:nvPr/>
        </p:nvSpPr>
        <p:spPr>
          <a:xfrm>
            <a:off x="3327712" y="2018922"/>
            <a:ext cx="5040000" cy="8557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ru-RU" dirty="0"/>
              <a:t>17,2% ЭПК 22,0% плацебо  ОР 0,75, </a:t>
            </a:r>
          </a:p>
          <a:p>
            <a:r>
              <a:rPr lang="ru-RU" dirty="0"/>
              <a:t>ДИ 95% [ДИ], 0,68-0,83, Р &lt;0,001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E5F83BF-B74F-41BE-B4DB-D3225D9FD4F0}"/>
              </a:ext>
            </a:extLst>
          </p:cNvPr>
          <p:cNvSpPr txBox="1"/>
          <p:nvPr/>
        </p:nvSpPr>
        <p:spPr>
          <a:xfrm>
            <a:off x="7131000" y="4509000"/>
            <a:ext cx="4368504" cy="92333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dirty="0"/>
              <a:t>Снижение относительного риска 24,8%</a:t>
            </a:r>
          </a:p>
          <a:p>
            <a:r>
              <a:rPr lang="ru-RU" dirty="0"/>
              <a:t>Снижение абсолютного риска 4.8%</a:t>
            </a:r>
          </a:p>
          <a:p>
            <a:r>
              <a:rPr lang="en-US" dirty="0"/>
              <a:t>NNT 21 </a:t>
            </a:r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A719BEF-8930-4BB6-82EE-5CA82D2AA3A1}"/>
              </a:ext>
            </a:extLst>
          </p:cNvPr>
          <p:cNvSpPr txBox="1"/>
          <p:nvPr/>
        </p:nvSpPr>
        <p:spPr>
          <a:xfrm>
            <a:off x="8253481" y="1937334"/>
            <a:ext cx="813043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28.3%</a:t>
            </a:r>
            <a:endParaRPr lang="ru-RU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7AD0DA-6657-45AD-BE48-F242D4C2FB06}"/>
              </a:ext>
            </a:extLst>
          </p:cNvPr>
          <p:cNvSpPr txBox="1"/>
          <p:nvPr/>
        </p:nvSpPr>
        <p:spPr>
          <a:xfrm>
            <a:off x="9299831" y="3322484"/>
            <a:ext cx="813043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dirty="0"/>
              <a:t>23.0%</a:t>
            </a:r>
            <a:endParaRPr lang="ru-RU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982FD96-E406-42FC-BEC2-586BB5B0F346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51203474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6C356C-A6A7-4FA5-AF2E-D17D40896C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6C356C-A6A7-4FA5-AF2E-D17D40896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C583F20-8BE8-4BCF-ACE3-8ABD57EC8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E-IT</a:t>
            </a:r>
            <a:endParaRPr lang="ru-RU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BFF421A-E319-4A65-A85B-537EE908CA3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79913" y="1809000"/>
            <a:ext cx="6832174" cy="432000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C125219-0D5D-4CB4-8F94-F6808432C58F}"/>
              </a:ext>
            </a:extLst>
          </p:cNvPr>
          <p:cNvSpPr txBox="1"/>
          <p:nvPr/>
        </p:nvSpPr>
        <p:spPr>
          <a:xfrm>
            <a:off x="0" y="946012"/>
            <a:ext cx="12192000" cy="630347"/>
          </a:xfrm>
          <a:prstGeom prst="rect">
            <a:avLst/>
          </a:prstGeom>
          <a:solidFill>
            <a:srgbClr val="004081"/>
          </a:solidFill>
        </p:spPr>
        <p:txBody>
          <a:bodyPr wrap="square" rtlCol="0" anchor="ctr">
            <a:noAutofit/>
          </a:bodyPr>
          <a:lstStyle/>
          <a:p>
            <a:pPr marL="354013"/>
            <a:r>
              <a:rPr lang="ru-RU" dirty="0">
                <a:solidFill>
                  <a:schemeClr val="bg1"/>
                </a:solidFill>
              </a:rPr>
              <a:t>Ключевая вторичная конечная точка была составной (сердечно-сосудистая </a:t>
            </a:r>
            <a:r>
              <a:rPr lang="en-US" sz="2400" dirty="0">
                <a:solidFill>
                  <a:schemeClr val="bg1"/>
                </a:solidFill>
                <a:sym typeface="Wingdings" panose="05000000000000000000" pitchFamily="2" charset="2"/>
              </a:rPr>
              <a:t></a:t>
            </a:r>
            <a:r>
              <a:rPr lang="ru-RU" dirty="0">
                <a:solidFill>
                  <a:schemeClr val="bg1"/>
                </a:solidFill>
              </a:rPr>
              <a:t>, нефатальный инфаркт миокарда или нефатальный инсульт.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BD9A167-F506-40B6-8105-125D71EADA2D}"/>
              </a:ext>
            </a:extLst>
          </p:cNvPr>
          <p:cNvSpPr/>
          <p:nvPr/>
        </p:nvSpPr>
        <p:spPr>
          <a:xfrm>
            <a:off x="3579913" y="1898290"/>
            <a:ext cx="5196000" cy="120032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dirty="0"/>
              <a:t>11,2% ЭПК</a:t>
            </a:r>
          </a:p>
          <a:p>
            <a:r>
              <a:rPr lang="ru-RU" dirty="0"/>
              <a:t>14,8% плацебо </a:t>
            </a:r>
          </a:p>
          <a:p>
            <a:r>
              <a:rPr lang="ru-RU" dirty="0"/>
              <a:t>ОР 0,74, </a:t>
            </a:r>
          </a:p>
          <a:p>
            <a:r>
              <a:rPr lang="ru-RU" dirty="0"/>
              <a:t>95% ДИ, 0,65-0,83, Р &lt;0,00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210669-9820-4187-B005-A405EFD10D4F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7556399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6C356C-A6A7-4FA5-AF2E-D17D40896C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6C356C-A6A7-4FA5-AF2E-D17D40896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C583F20-8BE8-4BCF-ACE3-8ABD57EC8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E-IT</a:t>
            </a:r>
            <a:endParaRPr lang="ru-RU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E0E5803-4E8F-44C1-81CE-5288064E74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1" y="1674000"/>
            <a:ext cx="10927644" cy="4385925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F72369CF-09C8-4FDE-922A-FC9E9681DD7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6799612"/>
              </p:ext>
            </p:extLst>
          </p:nvPr>
        </p:nvGraphicFramePr>
        <p:xfrm>
          <a:off x="609601" y="2280780"/>
          <a:ext cx="2856845" cy="290322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856845">
                  <a:extLst>
                    <a:ext uri="{9D8B030D-6E8A-4147-A177-3AD203B41FA5}">
                      <a16:colId xmlns:a16="http://schemas.microsoft.com/office/drawing/2014/main" val="3492598415"/>
                    </a:ext>
                  </a:extLst>
                </a:gridCol>
              </a:tblGrid>
              <a:tr h="248920">
                <a:tc>
                  <a:txBody>
                    <a:bodyPr/>
                    <a:lstStyle/>
                    <a:p>
                      <a:r>
                        <a:rPr lang="ru-RU" sz="1100" dirty="0"/>
                        <a:t>Первичная конечная точка</a:t>
                      </a:r>
                    </a:p>
                  </a:txBody>
                  <a:tcPr>
                    <a:solidFill>
                      <a:srgbClr val="F3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1804679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r>
                        <a:rPr lang="ru-RU" sz="1100" dirty="0"/>
                        <a:t>Ключевые вторичные КТ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19425"/>
                  </a:ext>
                </a:extLst>
              </a:tr>
              <a:tr h="160120">
                <a:tc>
                  <a:txBody>
                    <a:bodyPr/>
                    <a:lstStyle/>
                    <a:p>
                      <a:r>
                        <a:rPr lang="ru-RU" sz="1050" dirty="0"/>
                        <a:t>СС Смерть, или нефатальный </a:t>
                      </a:r>
                    </a:p>
                    <a:p>
                      <a:r>
                        <a:rPr lang="ru-RU" sz="1050" dirty="0"/>
                        <a:t>ИМ</a:t>
                      </a:r>
                    </a:p>
                  </a:txBody>
                  <a:tcPr>
                    <a:solidFill>
                      <a:srgbClr val="F3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1311686"/>
                  </a:ext>
                </a:extLst>
              </a:tr>
              <a:tr h="171040">
                <a:tc>
                  <a:txBody>
                    <a:bodyPr/>
                    <a:lstStyle/>
                    <a:p>
                      <a:r>
                        <a:rPr lang="ru-RU" sz="1100" dirty="0"/>
                        <a:t>Фатальный, или нефатальный ИМ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24047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050" dirty="0"/>
                        <a:t>Ургентная </a:t>
                      </a:r>
                      <a:r>
                        <a:rPr lang="ru-RU" sz="1050" dirty="0" err="1"/>
                        <a:t>реваскулязизация</a:t>
                      </a:r>
                      <a:endParaRPr lang="ru-RU" sz="1050" dirty="0"/>
                    </a:p>
                  </a:txBody>
                  <a:tcPr>
                    <a:solidFill>
                      <a:srgbClr val="F3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72335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100" dirty="0"/>
                        <a:t>СС Смерть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255043"/>
                  </a:ext>
                </a:extLst>
              </a:tr>
              <a:tr h="241778">
                <a:tc>
                  <a:txBody>
                    <a:bodyPr/>
                    <a:lstStyle/>
                    <a:p>
                      <a:r>
                        <a:rPr lang="ru-RU" sz="1100" dirty="0"/>
                        <a:t>н. стенокардия (</a:t>
                      </a:r>
                      <a:r>
                        <a:rPr lang="ru-RU" sz="1100" dirty="0" err="1"/>
                        <a:t>госп</a:t>
                      </a:r>
                      <a:r>
                        <a:rPr lang="ru-RU" sz="1100" dirty="0"/>
                        <a:t>)</a:t>
                      </a:r>
                    </a:p>
                  </a:txBody>
                  <a:tcPr>
                    <a:solidFill>
                      <a:srgbClr val="F3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1151376"/>
                  </a:ext>
                </a:extLst>
              </a:tr>
              <a:tr h="214720">
                <a:tc>
                  <a:txBody>
                    <a:bodyPr/>
                    <a:lstStyle/>
                    <a:p>
                      <a:r>
                        <a:rPr lang="ru-RU" sz="1100" dirty="0"/>
                        <a:t>Фатальный или нефатальный инсульт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4453622"/>
                  </a:ext>
                </a:extLst>
              </a:tr>
              <a:tr h="403148">
                <a:tc>
                  <a:txBody>
                    <a:bodyPr/>
                    <a:lstStyle/>
                    <a:p>
                      <a:r>
                        <a:rPr lang="ru-RU" sz="1100" dirty="0"/>
                        <a:t>Смерть от всех причин, нефатальный ИМ, или инсульт</a:t>
                      </a:r>
                    </a:p>
                  </a:txBody>
                  <a:tcPr>
                    <a:solidFill>
                      <a:srgbClr val="F3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682237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r>
                        <a:rPr lang="ru-RU" sz="1100" dirty="0"/>
                        <a:t>Смерть от всех причин</a:t>
                      </a:r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641759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CFD186AE-669F-4D67-ADF2-F0D36A87F17A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63562460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6C356C-A6A7-4FA5-AF2E-D17D40896C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3552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6C356C-A6A7-4FA5-AF2E-D17D40896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1B4FDFE0-A6F1-4149-A3DB-BC556726B533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39241" y="1"/>
            <a:ext cx="10652760" cy="6153909"/>
          </a:xfrm>
        </p:spPr>
        <p:txBody>
          <a:bodyPr/>
          <a:lstStyle/>
          <a:p>
            <a:endParaRPr lang="ru-RU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74B18DA-280B-49F9-B4D4-4A93368D59D0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539242" y="6241572"/>
            <a:ext cx="5471158" cy="492125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509F4538-2C2D-44CA-846A-7E1247AF5DA5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GB" dirty="0"/>
              <a:t>REDUCE-IT</a:t>
            </a:r>
            <a:endParaRPr lang="ru-RU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E87D3FB-F828-46AE-AF02-9F016E58F5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14728" y="0"/>
            <a:ext cx="10783019" cy="7831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767CB3E-4AE7-42E3-B93A-D357C4CD6EE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314728" y="692440"/>
            <a:ext cx="10884101" cy="616556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0B26204-D08C-40BE-A872-D5460E5ED684}"/>
              </a:ext>
            </a:extLst>
          </p:cNvPr>
          <p:cNvSpPr/>
          <p:nvPr/>
        </p:nvSpPr>
        <p:spPr>
          <a:xfrm>
            <a:off x="1314728" y="6361641"/>
            <a:ext cx="493727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41848271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A5C1DF6-F836-4063-8E22-E2CED913EF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1537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A5C1DF6-F836-4063-8E22-E2CED913EF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2C7AEA98-D21F-4DB7-A04B-0F33DCBAAA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00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623F71-8797-44EA-8A39-CD997E9297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REDUCE-IT</a:t>
            </a:r>
            <a:r>
              <a:rPr lang="ru-RU" dirty="0"/>
              <a:t>: результаты в зависимости от достигнутого уровня ТГ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203E94-CC06-4CDC-88E5-73842660454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96000" y="1388407"/>
            <a:ext cx="6050322" cy="4689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A0EAD2B-B1D3-43DD-B8B3-A32CDA8EC57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1155" y="1500907"/>
            <a:ext cx="5794845" cy="4464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32CD08-7AD4-49F0-AE4F-FA258604F275}"/>
              </a:ext>
            </a:extLst>
          </p:cNvPr>
          <p:cNvSpPr txBox="1"/>
          <p:nvPr/>
        </p:nvSpPr>
        <p:spPr>
          <a:xfrm>
            <a:off x="1866000" y="1141938"/>
            <a:ext cx="30524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Первичная конечная точ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5918AFE-698D-4824-BF2A-7E5A4E584019}"/>
              </a:ext>
            </a:extLst>
          </p:cNvPr>
          <p:cNvSpPr txBox="1"/>
          <p:nvPr/>
        </p:nvSpPr>
        <p:spPr>
          <a:xfrm>
            <a:off x="7594941" y="1104173"/>
            <a:ext cx="30203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Вторичная конечная точка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E5C4EDF-24A2-410A-A7B1-8325777E4058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24272940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2EA2DBF-202A-45A1-95A8-03C4BA76350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497209" y="205958"/>
            <a:ext cx="7910154" cy="778441"/>
          </a:xfrm>
        </p:spPr>
        <p:txBody>
          <a:bodyPr/>
          <a:lstStyle/>
          <a:p>
            <a:r>
              <a:rPr lang="en-US" dirty="0">
                <a:hlinkClick r:id="rId2"/>
              </a:rPr>
              <a:t>www.mdwrt.com</a:t>
            </a:r>
            <a:endParaRPr lang="ru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F4E73BE-B41A-49C2-A6F6-51DFDA5CB37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48" r="1364" b="1637"/>
          <a:stretch/>
        </p:blipFill>
        <p:spPr>
          <a:xfrm>
            <a:off x="1247607" y="-57444"/>
            <a:ext cx="9704644" cy="6915444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E5930A-9D65-4036-86C2-F150DAEEBD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F9096-8ED8-4F14-8F69-892A89853C22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937215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6C356C-A6A7-4FA5-AF2E-D17D40896C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6C356C-A6A7-4FA5-AF2E-D17D40896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C583F20-8BE8-4BCF-ACE3-8ABD57EC8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E-IT</a:t>
            </a:r>
            <a:endParaRPr lang="ru-RU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FFE4114-C5DC-40AE-B973-CCA5C1E780E5}"/>
              </a:ext>
            </a:extLst>
          </p:cNvPr>
          <p:cNvSpPr/>
          <p:nvPr/>
        </p:nvSpPr>
        <p:spPr>
          <a:xfrm>
            <a:off x="1011000" y="3011785"/>
            <a:ext cx="10170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ЭПК </a:t>
            </a:r>
            <a:r>
              <a:rPr lang="en-US" dirty="0"/>
              <a:t>vs </a:t>
            </a:r>
            <a:r>
              <a:rPr lang="ru-RU" dirty="0"/>
              <a:t>плацебо, госпитализация по поводу фибрилляции предсердий 3,1% </a:t>
            </a:r>
            <a:r>
              <a:rPr lang="en-US" dirty="0"/>
              <a:t>vs </a:t>
            </a:r>
            <a:r>
              <a:rPr lang="ru-RU" dirty="0"/>
              <a:t>2,1%, Р = 0,004</a:t>
            </a:r>
          </a:p>
          <a:p>
            <a:endParaRPr lang="ru-RU" dirty="0"/>
          </a:p>
          <a:p>
            <a:r>
              <a:rPr lang="ru-RU" dirty="0"/>
              <a:t>ЭПК </a:t>
            </a:r>
            <a:r>
              <a:rPr lang="en-US" dirty="0"/>
              <a:t>vs </a:t>
            </a:r>
            <a:r>
              <a:rPr lang="ru-RU" dirty="0"/>
              <a:t>плацебо, серьезные кровотечения 2,7% </a:t>
            </a:r>
            <a:r>
              <a:rPr lang="en-US" dirty="0"/>
              <a:t>vs</a:t>
            </a:r>
            <a:r>
              <a:rPr lang="ru-RU" dirty="0"/>
              <a:t> у 2,1% (Р = 0,06)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6E3FAF-3A3D-4162-95E8-21E1F6F2A678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24437141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6C356C-A6A7-4FA5-AF2E-D17D40896C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6C356C-A6A7-4FA5-AF2E-D17D40896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C583F20-8BE8-4BCF-ACE3-8ABD57EC8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E-IT</a:t>
            </a:r>
            <a:endParaRPr lang="ru-RU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9B693E-6E41-476C-AF5F-55C585E566C4}"/>
              </a:ext>
            </a:extLst>
          </p:cNvPr>
          <p:cNvSpPr/>
          <p:nvPr/>
        </p:nvSpPr>
        <p:spPr>
          <a:xfrm>
            <a:off x="539258" y="1911966"/>
            <a:ext cx="449152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Разница между двумя группами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 ТГ составила~ 40 мг / дл,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о не-ЛПВП ~ 15,5 мг / дл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06938D-A747-45D2-9E2D-0CEC7057EDC0}"/>
              </a:ext>
            </a:extLst>
          </p:cNvPr>
          <p:cNvSpPr/>
          <p:nvPr/>
        </p:nvSpPr>
        <p:spPr>
          <a:xfrm>
            <a:off x="609601" y="3205576"/>
            <a:ext cx="40913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↓15,5 мг/дл не-ЛПВП  должно ↓</a:t>
            </a:r>
            <a:r>
              <a:rPr lang="en-US" dirty="0"/>
              <a:t>MACE </a:t>
            </a:r>
            <a:r>
              <a:rPr lang="ru-RU" dirty="0"/>
              <a:t>на 10%</a:t>
            </a:r>
          </a:p>
        </p:txBody>
      </p:sp>
      <p:pic>
        <p:nvPicPr>
          <p:cNvPr id="9218" name="Picture 2" descr="https://pbs.twimg.com/media/Drqw8RaWwAE5eix.jpg">
            <a:extLst>
              <a:ext uri="{FF2B5EF4-FFF2-40B4-BE49-F238E27FC236}">
                <a16:creationId xmlns:a16="http://schemas.microsoft.com/office/drawing/2014/main" id="{2306CC53-02AD-41EF-9FD1-8066E9F771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6000" y="73909"/>
            <a:ext cx="6507101" cy="623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6A68DF7E-A8EE-424B-BDEC-0DD261760B91}"/>
              </a:ext>
            </a:extLst>
          </p:cNvPr>
          <p:cNvSpPr/>
          <p:nvPr/>
        </p:nvSpPr>
        <p:spPr>
          <a:xfrm>
            <a:off x="7266000" y="6261614"/>
            <a:ext cx="405110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/>
              <a:t>https://www.nejm.org/doi/full/10.1056/NEJMoa170644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7220063-299F-452E-95DC-C6C231A7F12B}"/>
              </a:ext>
            </a:extLst>
          </p:cNvPr>
          <p:cNvSpPr/>
          <p:nvPr/>
        </p:nvSpPr>
        <p:spPr>
          <a:xfrm>
            <a:off x="609601" y="4299802"/>
            <a:ext cx="40913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одобные различия в уровне липидов не объясняют 25% RRR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2114809-B4BE-4110-AEF8-434C63B91AF4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84452486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6C356C-A6A7-4FA5-AF2E-D17D40896C4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0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6C356C-A6A7-4FA5-AF2E-D17D40896C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1C583F20-8BE8-4BCF-ACE3-8ABD57EC8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E-IT</a:t>
            </a:r>
            <a:endParaRPr lang="ru-RU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29B693E-6E41-476C-AF5F-55C585E566C4}"/>
              </a:ext>
            </a:extLst>
          </p:cNvPr>
          <p:cNvSpPr/>
          <p:nvPr/>
        </p:nvSpPr>
        <p:spPr>
          <a:xfrm>
            <a:off x="529291" y="2299327"/>
            <a:ext cx="449152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Разница между двумя группами по ТГ составила~ 40 мг / дл, </a:t>
            </a:r>
          </a:p>
          <a:p>
            <a:r>
              <a:rPr lang="ru-RU" dirty="0"/>
              <a:t>Для не-ЛПВП ~ 15,5 мг / дл </a:t>
            </a:r>
          </a:p>
          <a:p>
            <a:r>
              <a:rPr lang="ru-RU" dirty="0"/>
              <a:t>Подобные различия в уровне липидов не объясняют 25% RRR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06938D-A747-45D2-9E2D-0CEC7057EDC0}"/>
              </a:ext>
            </a:extLst>
          </p:cNvPr>
          <p:cNvSpPr/>
          <p:nvPr/>
        </p:nvSpPr>
        <p:spPr>
          <a:xfrm>
            <a:off x="7119218" y="3125282"/>
            <a:ext cx="44346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↓15,5 мг/дл не-ЛПВП  должно ↓</a:t>
            </a:r>
            <a:r>
              <a:rPr lang="en-US" dirty="0"/>
              <a:t>MACE </a:t>
            </a:r>
            <a:r>
              <a:rPr lang="ru-RU" dirty="0"/>
              <a:t>на 10%</a:t>
            </a:r>
            <a:r>
              <a:rPr lang="ru-RU" baseline="30000" dirty="0"/>
              <a:t>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A68DF7E-A8EE-424B-BDEC-0DD261760B91}"/>
              </a:ext>
            </a:extLst>
          </p:cNvPr>
          <p:cNvSpPr/>
          <p:nvPr/>
        </p:nvSpPr>
        <p:spPr>
          <a:xfrm>
            <a:off x="7266000" y="6261614"/>
            <a:ext cx="424827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/>
              <a:t>1. https://www.nejm.org/doi/full/10.1056/NEJMoa1706444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C66BEE5-46A4-4E6F-9C63-93559EC0E71F}"/>
              </a:ext>
            </a:extLst>
          </p:cNvPr>
          <p:cNvSpPr/>
          <p:nvPr/>
        </p:nvSpPr>
        <p:spPr>
          <a:xfrm>
            <a:off x="539258" y="4284000"/>
            <a:ext cx="571274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trike="sngStrike" dirty="0"/>
              <a:t>антиаритмический эффект</a:t>
            </a:r>
            <a:r>
              <a:rPr lang="ru-RU" dirty="0"/>
              <a:t> </a:t>
            </a:r>
            <a:endParaRPr lang="en-US" dirty="0"/>
          </a:p>
          <a:p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F5D8BC-992A-4D41-9F03-244C1C26C947}"/>
              </a:ext>
            </a:extLst>
          </p:cNvPr>
          <p:cNvSpPr/>
          <p:nvPr/>
        </p:nvSpPr>
        <p:spPr>
          <a:xfrm>
            <a:off x="7138701" y="4093586"/>
            <a:ext cx="46350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ЭПК </a:t>
            </a:r>
            <a:r>
              <a:rPr lang="en-US" dirty="0"/>
              <a:t>vs </a:t>
            </a:r>
            <a:r>
              <a:rPr lang="ru-RU" dirty="0"/>
              <a:t>плацебо, госпитализация по поводу фибрилляции предсердий 3,1% </a:t>
            </a:r>
            <a:r>
              <a:rPr lang="en-US" dirty="0"/>
              <a:t>vs </a:t>
            </a:r>
            <a:r>
              <a:rPr lang="ru-RU" dirty="0"/>
              <a:t>2,1%, Р = 0,004</a:t>
            </a:r>
          </a:p>
          <a:p>
            <a:endParaRPr lang="ru-RU" dirty="0"/>
          </a:p>
          <a:p>
            <a:r>
              <a:rPr lang="ru-RU" dirty="0"/>
              <a:t>ЭПК </a:t>
            </a:r>
            <a:r>
              <a:rPr lang="en-US" dirty="0"/>
              <a:t>vs </a:t>
            </a:r>
            <a:r>
              <a:rPr lang="ru-RU" dirty="0"/>
              <a:t>плацебо, серьезные кровотечения 2,7% </a:t>
            </a:r>
            <a:r>
              <a:rPr lang="en-US" dirty="0"/>
              <a:t>vs</a:t>
            </a:r>
            <a:r>
              <a:rPr lang="ru-RU" dirty="0"/>
              <a:t> у 2,1% (Р = 0,06)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7DCE61F-5FB2-4154-95FA-6C55D2F1E6CD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2CD8F2F-D598-4D6E-ADF1-FA97DA226CBC}"/>
              </a:ext>
            </a:extLst>
          </p:cNvPr>
          <p:cNvCxnSpPr>
            <a:cxnSpLocks/>
          </p:cNvCxnSpPr>
          <p:nvPr/>
        </p:nvCxnSpPr>
        <p:spPr>
          <a:xfrm>
            <a:off x="7273701" y="5080314"/>
            <a:ext cx="450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9ADFB7C-0263-428E-95A8-36079E571899}"/>
              </a:ext>
            </a:extLst>
          </p:cNvPr>
          <p:cNvCxnSpPr>
            <a:cxnSpLocks/>
          </p:cNvCxnSpPr>
          <p:nvPr/>
        </p:nvCxnSpPr>
        <p:spPr>
          <a:xfrm>
            <a:off x="539258" y="4990271"/>
            <a:ext cx="45075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9BEA1D1D-79D5-4391-B3D8-62924A8BB968}"/>
              </a:ext>
            </a:extLst>
          </p:cNvPr>
          <p:cNvSpPr/>
          <p:nvPr/>
        </p:nvSpPr>
        <p:spPr>
          <a:xfrm>
            <a:off x="556865" y="1150616"/>
            <a:ext cx="40142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ПОТЕНЦИАЛЬНЫЕ ОБЪЯСНЕНИЯ:</a:t>
            </a:r>
            <a:endParaRPr lang="en-US" b="1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163F66B-C412-4C86-A85A-AEEF6B767D03}"/>
              </a:ext>
            </a:extLst>
          </p:cNvPr>
          <p:cNvSpPr/>
          <p:nvPr/>
        </p:nvSpPr>
        <p:spPr>
          <a:xfrm>
            <a:off x="487072" y="5021588"/>
            <a:ext cx="471175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err="1"/>
              <a:t>антитромботический</a:t>
            </a:r>
            <a:r>
              <a:rPr lang="ru-RU" dirty="0"/>
              <a:t> </a:t>
            </a:r>
            <a:endParaRPr lang="en-US" dirty="0"/>
          </a:p>
          <a:p>
            <a:r>
              <a:rPr lang="ru-RU" dirty="0"/>
              <a:t>более высокая частота кровотечении на </a:t>
            </a:r>
            <a:r>
              <a:rPr lang="ru-RU" dirty="0" err="1"/>
              <a:t>Vascepa</a:t>
            </a:r>
            <a:r>
              <a:rPr lang="ru-RU" dirty="0"/>
              <a:t> более низкая смертность от смерти</a:t>
            </a: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F4C4679-C648-4CF8-92BD-D49D8FDE1F93}"/>
              </a:ext>
            </a:extLst>
          </p:cNvPr>
          <p:cNvSpPr/>
          <p:nvPr/>
        </p:nvSpPr>
        <p:spPr>
          <a:xfrm>
            <a:off x="5958347" y="2950433"/>
            <a:ext cx="199293" cy="940381"/>
          </a:xfrm>
          <a:custGeom>
            <a:avLst/>
            <a:gdLst/>
            <a:ahLst/>
            <a:cxnLst/>
            <a:rect l="0" t="0" r="0" b="0"/>
            <a:pathLst>
              <a:path w="187570" h="1266094">
                <a:moveTo>
                  <a:pt x="0" y="0"/>
                </a:moveTo>
                <a:lnTo>
                  <a:pt x="0" y="0"/>
                </a:lnTo>
                <a:lnTo>
                  <a:pt x="187569" y="633047"/>
                </a:lnTo>
                <a:lnTo>
                  <a:pt x="0" y="1266093"/>
                </a:lnTo>
              </a:path>
            </a:pathLst>
          </a:custGeom>
          <a:ln w="285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3A3625C-09A5-49A8-B617-EA5539C011E3}"/>
              </a:ext>
            </a:extLst>
          </p:cNvPr>
          <p:cNvSpPr/>
          <p:nvPr/>
        </p:nvSpPr>
        <p:spPr>
          <a:xfrm>
            <a:off x="6096000" y="2950434"/>
            <a:ext cx="199293" cy="940380"/>
          </a:xfrm>
          <a:custGeom>
            <a:avLst/>
            <a:gdLst/>
            <a:ahLst/>
            <a:cxnLst/>
            <a:rect l="0" t="0" r="0" b="0"/>
            <a:pathLst>
              <a:path w="187570" h="1266093">
                <a:moveTo>
                  <a:pt x="0" y="0"/>
                </a:moveTo>
                <a:lnTo>
                  <a:pt x="0" y="0"/>
                </a:lnTo>
                <a:lnTo>
                  <a:pt x="187569" y="633046"/>
                </a:lnTo>
                <a:lnTo>
                  <a:pt x="0" y="1266092"/>
                </a:lnTo>
              </a:path>
            </a:pathLst>
          </a:custGeom>
          <a:ln w="28575">
            <a:solidFill>
              <a:srgbClr val="C0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F6266273-BAE9-4B23-918D-BE02977BE393}"/>
              </a:ext>
            </a:extLst>
          </p:cNvPr>
          <p:cNvSpPr/>
          <p:nvPr/>
        </p:nvSpPr>
        <p:spPr>
          <a:xfrm>
            <a:off x="5969598" y="4010255"/>
            <a:ext cx="199293" cy="940381"/>
          </a:xfrm>
          <a:custGeom>
            <a:avLst/>
            <a:gdLst/>
            <a:ahLst/>
            <a:cxnLst/>
            <a:rect l="0" t="0" r="0" b="0"/>
            <a:pathLst>
              <a:path w="187570" h="1266094">
                <a:moveTo>
                  <a:pt x="0" y="0"/>
                </a:moveTo>
                <a:lnTo>
                  <a:pt x="0" y="0"/>
                </a:lnTo>
                <a:lnTo>
                  <a:pt x="187569" y="633047"/>
                </a:lnTo>
                <a:lnTo>
                  <a:pt x="0" y="1266093"/>
                </a:lnTo>
              </a:path>
            </a:pathLst>
          </a:custGeom>
          <a:ln w="285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14E94591-A4B3-4FF0-B747-15A9FD5965B9}"/>
              </a:ext>
            </a:extLst>
          </p:cNvPr>
          <p:cNvSpPr/>
          <p:nvPr/>
        </p:nvSpPr>
        <p:spPr>
          <a:xfrm>
            <a:off x="6107251" y="4010256"/>
            <a:ext cx="199293" cy="940380"/>
          </a:xfrm>
          <a:custGeom>
            <a:avLst/>
            <a:gdLst/>
            <a:ahLst/>
            <a:cxnLst/>
            <a:rect l="0" t="0" r="0" b="0"/>
            <a:pathLst>
              <a:path w="187570" h="1266093">
                <a:moveTo>
                  <a:pt x="0" y="0"/>
                </a:moveTo>
                <a:lnTo>
                  <a:pt x="0" y="0"/>
                </a:lnTo>
                <a:lnTo>
                  <a:pt x="187569" y="633046"/>
                </a:lnTo>
                <a:lnTo>
                  <a:pt x="0" y="1266092"/>
                </a:lnTo>
              </a:path>
            </a:pathLst>
          </a:custGeom>
          <a:ln w="28575">
            <a:solidFill>
              <a:srgbClr val="C0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EE5AACC3-D1FE-4801-A38F-3E32D7431314}"/>
              </a:ext>
            </a:extLst>
          </p:cNvPr>
          <p:cNvSpPr/>
          <p:nvPr/>
        </p:nvSpPr>
        <p:spPr>
          <a:xfrm>
            <a:off x="5969598" y="5107511"/>
            <a:ext cx="199293" cy="940381"/>
          </a:xfrm>
          <a:custGeom>
            <a:avLst/>
            <a:gdLst/>
            <a:ahLst/>
            <a:cxnLst/>
            <a:rect l="0" t="0" r="0" b="0"/>
            <a:pathLst>
              <a:path w="187570" h="1266094">
                <a:moveTo>
                  <a:pt x="0" y="0"/>
                </a:moveTo>
                <a:lnTo>
                  <a:pt x="0" y="0"/>
                </a:lnTo>
                <a:lnTo>
                  <a:pt x="187569" y="633047"/>
                </a:lnTo>
                <a:lnTo>
                  <a:pt x="0" y="1266093"/>
                </a:lnTo>
              </a:path>
            </a:pathLst>
          </a:custGeom>
          <a:ln w="28575"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77AA80B3-58F2-4F74-A721-08B8307BF6FC}"/>
              </a:ext>
            </a:extLst>
          </p:cNvPr>
          <p:cNvSpPr/>
          <p:nvPr/>
        </p:nvSpPr>
        <p:spPr>
          <a:xfrm>
            <a:off x="6107251" y="5107512"/>
            <a:ext cx="199293" cy="940380"/>
          </a:xfrm>
          <a:custGeom>
            <a:avLst/>
            <a:gdLst/>
            <a:ahLst/>
            <a:cxnLst/>
            <a:rect l="0" t="0" r="0" b="0"/>
            <a:pathLst>
              <a:path w="187570" h="1266093">
                <a:moveTo>
                  <a:pt x="0" y="0"/>
                </a:moveTo>
                <a:lnTo>
                  <a:pt x="0" y="0"/>
                </a:lnTo>
                <a:lnTo>
                  <a:pt x="187569" y="633046"/>
                </a:lnTo>
                <a:lnTo>
                  <a:pt x="0" y="1266092"/>
                </a:lnTo>
              </a:path>
            </a:pathLst>
          </a:custGeom>
          <a:ln w="28575">
            <a:solidFill>
              <a:srgbClr val="C0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3056889-BF0C-4EFD-B0B7-E7995812D422}"/>
              </a:ext>
            </a:extLst>
          </p:cNvPr>
          <p:cNvCxnSpPr>
            <a:cxnSpLocks/>
          </p:cNvCxnSpPr>
          <p:nvPr/>
        </p:nvCxnSpPr>
        <p:spPr>
          <a:xfrm>
            <a:off x="556865" y="3910500"/>
            <a:ext cx="450754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163E2AFB-246A-44F9-BADE-0C655083C092}"/>
              </a:ext>
            </a:extLst>
          </p:cNvPr>
          <p:cNvCxnSpPr>
            <a:cxnSpLocks/>
          </p:cNvCxnSpPr>
          <p:nvPr/>
        </p:nvCxnSpPr>
        <p:spPr>
          <a:xfrm>
            <a:off x="7356000" y="3862360"/>
            <a:ext cx="450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0525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F6ACFB-4902-4215-9D98-34843E2868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4608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" name="think-cell Slide" r:id="rId38" imgW="362" imgH="362" progId="TCLayout.ActiveDocument.1">
                  <p:embed/>
                </p:oleObj>
              </mc:Choice>
              <mc:Fallback>
                <p:oleObj name="think-cell Slide" r:id="rId38" imgW="362" imgH="36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F6ACFB-4902-4215-9D98-34843E2868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3C0EA99-62AB-44D0-A6E8-1728C9A79EC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600" b="1" dirty="0">
              <a:latin typeface="DINPro-Medium" panose="02000503030000020004" pitchFamily="50" charset="0"/>
              <a:sym typeface="DINPro-Medium" panose="02000503030000020004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C4F189-9F52-42CA-AB47-6A364257C4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REDUCE-IT</a:t>
            </a:r>
            <a:r>
              <a:rPr lang="ru-RU" dirty="0"/>
              <a:t>: липиды, липопротеины и воспалительные маркеры за время исследования</a:t>
            </a: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4CC18696-37DE-4173-B41E-D95A909BF1E0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78470561"/>
              </p:ext>
            </p:extLst>
          </p:nvPr>
        </p:nvGraphicFramePr>
        <p:xfrm>
          <a:off x="658813" y="1160463"/>
          <a:ext cx="10625137" cy="442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3412C4EB-E868-40DA-BEFD-2A441975E25D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H="1">
            <a:off x="698500" y="5499100"/>
            <a:ext cx="4159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75119B71-32D7-4218-855D-49789802D653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741363" y="1239838"/>
            <a:ext cx="0" cy="42624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297602FE-F039-42D2-B815-813F5DD734FE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 flipH="1">
            <a:off x="5929313" y="4338638"/>
            <a:ext cx="4159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7C8A7064-3BE7-4DDD-8A1F-05392AF72DC2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698500" y="1243013"/>
            <a:ext cx="135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031C1ACC-870A-4885-8A80-55E75F3D50AD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3313113" y="3951288"/>
            <a:ext cx="41592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D01773E1-9A6D-47AE-8A3F-6467B371F08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 flipH="1">
            <a:off x="3313113" y="1358900"/>
            <a:ext cx="135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EA1DA030-9FB8-498B-8B7F-45C4B2E92923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 flipV="1">
            <a:off x="3355975" y="1355725"/>
            <a:ext cx="0" cy="259873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C7C0A603-133C-4F17-BCC9-0C75970389E6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 flipH="1">
            <a:off x="5929313" y="2016125"/>
            <a:ext cx="1350963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6D5BF7AC-F852-43A8-9569-0263CD1C6D7F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 flipV="1">
            <a:off x="5972175" y="2012950"/>
            <a:ext cx="0" cy="2328863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D6CA200E-67E9-49F8-9DEA-75299F31678A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9383713" y="3409950"/>
            <a:ext cx="511175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6388CCC4-1BC2-48F9-B405-E0A6581624B3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 flipV="1">
            <a:off x="9426575" y="3406776"/>
            <a:ext cx="0" cy="238125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DDA92DBA-D172-4F4D-8227-42460ED8E78A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352675" y="998538"/>
            <a:ext cx="3286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7D081D4-C683-469C-AC94-51A11B6AF3EC}" type="datetime'''''''''''''''''6'''''''''''''''''''''',''''''0''''''''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,0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6066CF0B-2DF4-4753-BB19-13F5A438332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9253538" y="5811838"/>
            <a:ext cx="12795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AFD9CCC-3DEC-4B95-8650-2FBF22F18763}" type="datetime'''''''''''''''''hsC''''''''''R''P'' ''''(m''g/''''''''L'''')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hsCRP (mg/L)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6B15770-7B13-4B5F-B61D-07835CDB5F9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628775" y="5811838"/>
            <a:ext cx="83978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5F1518E-558D-4AD8-A6F4-08961727B0C4}" type="datetime'''''''н''''е'''''''''''''''''' ''''Л''''ПВ''''''П''''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не ЛПВП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5851ABA7-A4F9-49C6-992A-05E6C7C9354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582988" y="5811838"/>
            <a:ext cx="21621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E4FA7F6-C950-41DD-B4E6-49787B108286}" type="datetime'LDL''''-C'''''''''''' ''Hopk''i''''''ns ''(m''''''g/dL)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LDL-C Hopkins (mg/dL)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9D62299-5A4E-406B-BE59-BA4FAD0BC00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618288" y="5811838"/>
            <a:ext cx="132080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A1C4E5-5891-4FB9-A385-96178E924403}" type="datetime'''''A''po'''''''' ''''''''''B'' (''''m''g/''''''d''L)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po B (mg/dL)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09730390-6C23-4E4F-861F-99A1ACF79C8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3987800" y="3976688"/>
            <a:ext cx="4159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F43611D-D865-431A-BA77-A86320418BE0}" type="datetime'''-''''''''''''''''1'''''''''''''''''''''''''''''',0''''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1,0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C7ACDAEE-B75C-4A45-8A6A-EE8C762BABD9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373188" y="5524500"/>
            <a:ext cx="4159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7AA2DC-ADE9-4A56-AB98-2876B9D9112A}" type="datetime'-''''''''''''''''''''5'''''''''''''''',''0''''''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5,0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4E3A3AD7-03D4-4325-9A50-63B286DC7F9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967288" y="1114425"/>
            <a:ext cx="3286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9248D0-35A5-4CF5-8D7A-9E87FEEB5030}" type="datetime'''''''''''''''''''''''5'''''''''''''''',''''''''7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,7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DE7B880F-8B86-4600-AD9B-B1CD30F9A271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604000" y="4364038"/>
            <a:ext cx="4159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9378B63-C5C6-40E7-9B13-C4EBCE3DA6F4}" type="datetime'''-''2,''''''''''''''''''''''''''''''''''''0''''''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2,0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7CB1D61B-99C0-4548-B967-63DDA995848E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583488" y="1771650"/>
            <a:ext cx="3286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2D53D2-0794-418E-9449-652ABA932654}" type="datetime'''''''''''4'''''',''''''''''''''0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,0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7F56258A-D6CD-478E-934E-F5D52732E251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9218613" y="3667125"/>
            <a:ext cx="4159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A012C7-0A95-4BDC-877C-9491A5228927}" type="datetime'''''-''''''''''0'''''''''''''',''''2''''''''''''''''''''''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-0,2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DA070CCC-535B-40E4-847A-C5E88A2156E1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198100" y="3165475"/>
            <a:ext cx="32861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b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F09D711-C8B5-4634-AF96-16030BAF26C8}" type="datetime'''0'''''',''''''''''''''''''''''4'">
              <a:rPr lang="ru-RU" altLang="en-US" sz="1600" smtClean="0">
                <a:latin typeface="+mn-lt"/>
                <a:sym typeface="+mn-lt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4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42CD2942-538E-4B5B-BCF7-B1D5ADBAC671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74650" y="3257550"/>
            <a:ext cx="733425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01699A-430F-444D-AD0A-DC35CCF4858F}" type="datetime'''+''''''''''''1''''''''''''''''''''''''1'''',''0'''''''''">
              <a:rPr lang="ru-RU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11,0</a:t>
            </a:fld>
            <a:endParaRPr lang="ru-RU" sz="1600" b="1" dirty="0">
              <a:latin typeface="+mn-lt"/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E7C495C3-CA1D-4976-83E3-59261F38112D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070225" y="2541588"/>
            <a:ext cx="571500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0797154-B38D-4527-AF39-CA9C237312FD}" type="datetime'''+''''''''''''''6,''''''''7'''''">
              <a:rPr lang="ru-RU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6,7</a:t>
            </a:fld>
            <a:endParaRPr lang="ru-RU" sz="1600" b="1" dirty="0">
              <a:latin typeface="+mn-lt"/>
              <a:sym typeface="+mn-lt"/>
            </a:endParaRP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6F8CBAF7-D540-4A00-ADE1-FE5265C25EB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5686424" y="3063875"/>
            <a:ext cx="571500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529A3FB-20B9-43D1-B5E0-19868EE1FE07}" type="datetime'''+''''''''''''''''''''''''''''6'''''''''''''''''''''',0'''">
              <a:rPr lang="ru-RU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6,0</a:t>
            </a:fld>
            <a:endParaRPr lang="ru-RU" sz="1600" b="1" dirty="0">
              <a:latin typeface="+mn-lt"/>
              <a:sym typeface="+mn-lt"/>
            </a:endParaRPr>
          </a:p>
        </p:txBody>
      </p:sp>
      <p:sp>
        <p:nvSpPr>
          <p:cNvPr id="99" name="Text Placeholder 2">
            <a:extLst>
              <a:ext uri="{FF2B5EF4-FFF2-40B4-BE49-F238E27FC236}">
                <a16:creationId xmlns:a16="http://schemas.microsoft.com/office/drawing/2014/main" id="{5890E1E5-CDDF-4D86-B12A-4D8C1B63286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764587" y="3355975"/>
            <a:ext cx="571500" cy="3111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E9D0BD-0AE1-4C2E-BCE4-2E3C91DB4EEE}" type="datetime'''+''''0'''''''''''',''''6'''''''''''''''''''''''''''">
              <a:rPr lang="ru-RU" altLang="en-US" sz="1600" b="1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+0,6</a:t>
            </a:fld>
            <a:endParaRPr lang="ru-RU" sz="1600" b="1" dirty="0">
              <a:latin typeface="+mn-lt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55357E9-AEAE-4DBE-9030-07E9EB159822}"/>
              </a:ext>
            </a:extLst>
          </p:cNvPr>
          <p:cNvSpPr/>
          <p:nvPr>
            <p:custDataLst>
              <p:tags r:id="rId32"/>
            </p:custDataLst>
          </p:nvPr>
        </p:nvSpPr>
        <p:spPr bwMode="auto">
          <a:xfrm>
            <a:off x="9436099" y="1949450"/>
            <a:ext cx="285750" cy="214313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2AF6AE-D5A8-46D6-AF8B-8528CDC2ED4A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9436099" y="2219325"/>
            <a:ext cx="285750" cy="214313"/>
          </a:xfrm>
          <a:prstGeom prst="rect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F271634-F974-44F2-A1B3-937B6DDBF0C8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9772650" y="1943100"/>
            <a:ext cx="79057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C28F2EE-9673-457C-832F-A77F3B026BB4}" type="datetime'''''''''V''''''''''''as''''c''''''''''''epa'' '''''">
              <a:rPr lang="ru-RU" altLang="en-US" sz="1600" smtClean="0">
                <a:latin typeface="+mn-lt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Vascepa 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034B0CD-1FE1-46FF-A839-DAF134E6A1A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9772650" y="2212975"/>
            <a:ext cx="808038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5D2887-3A52-4FDA-A7AA-879E04E0D882}" type="datetime'''''''''П''''''''''''ла''''''''''ц''''''е''''''''б''''''о'''">
              <a:rPr lang="ru-RU" altLang="en-US" sz="1600" smtClean="0">
                <a:latin typeface="+mn-lt"/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лацебо</a:t>
            </a:fld>
            <a:endParaRPr lang="ru-RU" sz="1600" dirty="0">
              <a:latin typeface="+mn-lt"/>
              <a:sym typeface="+mn-lt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5A171FBA-B491-4DC4-A781-7990B2765C9D}"/>
              </a:ext>
            </a:extLst>
          </p:cNvPr>
          <p:cNvSpPr/>
          <p:nvPr/>
        </p:nvSpPr>
        <p:spPr>
          <a:xfrm>
            <a:off x="6096000" y="4929002"/>
            <a:ext cx="56716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Может ли плацебо навредить, что усиливает преимущества </a:t>
            </a:r>
            <a:r>
              <a:rPr lang="ru-RU" dirty="0" err="1"/>
              <a:t>Vascepa</a:t>
            </a:r>
            <a:r>
              <a:rPr lang="ru-RU" dirty="0"/>
              <a:t>?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ACADB6E-9CA6-49C6-8DC1-2269EA42B88B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371144487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54125B-466D-461A-950E-4B1562FD70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6908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8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54125B-466D-461A-950E-4B1562FD70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3A86CB5-84DC-4D23-B39A-C115A57A4B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E-IT</a:t>
            </a:r>
            <a:r>
              <a:rPr lang="ru-RU" dirty="0"/>
              <a:t>: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CAEA8CD-AD61-47B9-9E94-0482FDCD2EA3}"/>
              </a:ext>
            </a:extLst>
          </p:cNvPr>
          <p:cNvSpPr/>
          <p:nvPr/>
        </p:nvSpPr>
        <p:spPr>
          <a:xfrm>
            <a:off x="1821000" y="2394000"/>
            <a:ext cx="9315000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dirty="0"/>
              <a:t>Преимущество </a:t>
            </a:r>
            <a:r>
              <a:rPr lang="ru-RU" dirty="0" err="1"/>
              <a:t>Vascepa</a:t>
            </a:r>
            <a:r>
              <a:rPr lang="ru-RU" dirty="0"/>
              <a:t> не пропорционально изменению ТГ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dirty="0"/>
              <a:t>Выгода от </a:t>
            </a:r>
            <a:r>
              <a:rPr lang="ru-RU" dirty="0" err="1"/>
              <a:t>Vascepa</a:t>
            </a:r>
            <a:r>
              <a:rPr lang="ru-RU" dirty="0"/>
              <a:t> не зависела от исходного или достигнутого уровня ТГ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dirty="0"/>
              <a:t>Данные REDUCE-IT не согласуются с гипотезой «чем меньше тем лучше»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dirty="0"/>
              <a:t>Поскольку преимущество </a:t>
            </a:r>
            <a:r>
              <a:rPr lang="ru-RU" dirty="0" err="1"/>
              <a:t>Vascepa</a:t>
            </a:r>
            <a:r>
              <a:rPr lang="ru-RU" dirty="0"/>
              <a:t> не меняется по сравнению с исходным или достигнутым уровнем ТГ, следует ли использовать данные препарат у всех пациентов с ССЗ (без высоких критериев входа по ТГ)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BABEF0-AF66-4840-9658-EE4417FF9A45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6122108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41D7359-0339-455A-8104-9870588341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8814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2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41D7359-0339-455A-8104-9870588341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5B6E77-68A3-42DC-9F9D-B9FDCCEB2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DUCE-IT</a:t>
            </a:r>
            <a:r>
              <a:rPr lang="ru-RU" dirty="0"/>
              <a:t>: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7A9A62-FCCD-45A7-9CD4-82680762FFA6}"/>
              </a:ext>
            </a:extLst>
          </p:cNvPr>
          <p:cNvSpPr/>
          <p:nvPr/>
        </p:nvSpPr>
        <p:spPr>
          <a:xfrm>
            <a:off x="2181000" y="3211840"/>
            <a:ext cx="723787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 err="1"/>
              <a:t>Вассепа</a:t>
            </a:r>
            <a:r>
              <a:rPr lang="ru-RU" sz="2800" dirty="0"/>
              <a:t> работает, но мы не знаем, почему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E06398D-05AD-4517-BE6F-4884F1041F8F}"/>
              </a:ext>
            </a:extLst>
          </p:cNvPr>
          <p:cNvSpPr/>
          <p:nvPr/>
        </p:nvSpPr>
        <p:spPr>
          <a:xfrm>
            <a:off x="156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100" dirty="0"/>
              <a:t>1.</a:t>
            </a:r>
            <a:r>
              <a:rPr lang="ru-RU" sz="1100" dirty="0"/>
              <a:t> </a:t>
            </a:r>
            <a:r>
              <a:rPr lang="en-GB" sz="1100" dirty="0"/>
              <a:t>Bhatt, D. L. </a:t>
            </a:r>
            <a:r>
              <a:rPr lang="en-GB" sz="1100" i="1" dirty="0"/>
              <a:t>et al.</a:t>
            </a:r>
            <a:r>
              <a:rPr lang="en-GB" sz="1100" dirty="0"/>
              <a:t> Cardiovascular Risk Reduction with </a:t>
            </a:r>
            <a:r>
              <a:rPr lang="en-GB" sz="1100" dirty="0" err="1"/>
              <a:t>Icosapent</a:t>
            </a:r>
            <a:r>
              <a:rPr lang="en-GB" sz="1100" dirty="0"/>
              <a:t> Ethyl for Hypertriglyceridemia. </a:t>
            </a:r>
            <a:r>
              <a:rPr lang="en-GB" sz="1100" i="1" dirty="0"/>
              <a:t>N. Engl. J. Med.</a:t>
            </a:r>
            <a:r>
              <a:rPr lang="en-GB" sz="1100" dirty="0"/>
              <a:t> (2018). doi:10.1056/NEJMoa1812792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219268454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4F701F9-2131-4189-B638-0D6851B5D7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6364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6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4F701F9-2131-4189-B638-0D6851B5D7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87CF18E-5D76-4A5D-8D89-6E8A01B734C7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ru-RU" dirty="0"/>
              <a:t>ОПРОС</a:t>
            </a:r>
          </a:p>
        </p:txBody>
      </p:sp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7" name="Add-in 6" title="Mentimeter">
                <a:extLst>
                  <a:ext uri="{FF2B5EF4-FFF2-40B4-BE49-F238E27FC236}">
                    <a16:creationId xmlns:a16="http://schemas.microsoft.com/office/drawing/2014/main" id="{51D738B9-22DE-49C0-890D-316F78105D7C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807322472"/>
                  </p:ext>
                </p:extLst>
              </p:nvPr>
            </p:nvGraphicFramePr>
            <p:xfrm>
              <a:off x="1119951" y="0"/>
              <a:ext cx="11072049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6"/>
              </a:graphicData>
            </a:graphic>
          </p:graphicFrame>
        </mc:Choice>
        <mc:Fallback>
          <p:pic>
            <p:nvPicPr>
              <p:cNvPr id="7" name="Add-in 6" title="Mentimeter">
                <a:extLst>
                  <a:ext uri="{FF2B5EF4-FFF2-40B4-BE49-F238E27FC236}">
                    <a16:creationId xmlns:a16="http://schemas.microsoft.com/office/drawing/2014/main" id="{51D738B9-22DE-49C0-890D-316F78105D7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19951" y="0"/>
                <a:ext cx="11072049" cy="685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676251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3B2BED-3B8A-4A99-977C-49BA88A738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3B2BED-3B8A-4A99-977C-49BA88A738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C7252A4-6C75-4552-B50E-670A5FC6DD4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539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16566AC-9207-40CF-A5C1-637279D238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циенты с ССЗ высокого риска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8E6ED70-C2D8-4EE4-9551-64019183A27A}"/>
              </a:ext>
            </a:extLst>
          </p:cNvPr>
          <p:cNvSpPr txBox="1"/>
          <p:nvPr/>
        </p:nvSpPr>
        <p:spPr>
          <a:xfrm>
            <a:off x="2675999" y="1786928"/>
            <a:ext cx="6116141" cy="36933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/>
              <a:t>Максимальные дозировки статинов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22B2874-E3AD-4BF9-893E-451D9DEB413E}"/>
              </a:ext>
            </a:extLst>
          </p:cNvPr>
          <p:cNvSpPr txBox="1"/>
          <p:nvPr/>
        </p:nvSpPr>
        <p:spPr>
          <a:xfrm>
            <a:off x="2615286" y="3392069"/>
            <a:ext cx="1606780" cy="369332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algn="ctr"/>
            <a:r>
              <a:rPr lang="ru-RU" dirty="0"/>
              <a:t>Эзетимиб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48F39EC-BE03-4DF7-ACE9-825B0C7B6060}"/>
              </a:ext>
            </a:extLst>
          </p:cNvPr>
          <p:cNvSpPr txBox="1"/>
          <p:nvPr/>
        </p:nvSpPr>
        <p:spPr>
          <a:xfrm>
            <a:off x="5148116" y="3373863"/>
            <a:ext cx="1606780" cy="36933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dirty="0"/>
              <a:t>ЭПК*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16ECD7-0B88-4B4F-BAC7-CA22B5219EFE}"/>
              </a:ext>
            </a:extLst>
          </p:cNvPr>
          <p:cNvSpPr txBox="1"/>
          <p:nvPr/>
        </p:nvSpPr>
        <p:spPr>
          <a:xfrm>
            <a:off x="4745603" y="4227108"/>
            <a:ext cx="23272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Стабильная ССЗ Диабет +≥1 фактор риска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61A4601-973B-4FFB-925E-2AD3FB78BDAA}"/>
              </a:ext>
            </a:extLst>
          </p:cNvPr>
          <p:cNvSpPr txBox="1"/>
          <p:nvPr/>
        </p:nvSpPr>
        <p:spPr>
          <a:xfrm>
            <a:off x="7680946" y="3338413"/>
            <a:ext cx="1111202" cy="369332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pPr algn="ctr"/>
            <a:r>
              <a:rPr lang="en-US" dirty="0"/>
              <a:t>PCSK9</a:t>
            </a:r>
            <a:r>
              <a:rPr lang="ru-RU" dirty="0"/>
              <a:t>**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F6D9876-09B8-4379-9B1C-32C971EC6CDC}"/>
              </a:ext>
            </a:extLst>
          </p:cNvPr>
          <p:cNvSpPr txBox="1"/>
          <p:nvPr/>
        </p:nvSpPr>
        <p:spPr>
          <a:xfrm>
            <a:off x="7072899" y="4190883"/>
            <a:ext cx="23272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ССЗ </a:t>
            </a:r>
          </a:p>
          <a:p>
            <a:pPr algn="ctr"/>
            <a:r>
              <a:rPr lang="ru-RU" dirty="0"/>
              <a:t>+ дополнительные факторы риска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21930-F127-4E8E-8753-6A383F63E6BC}"/>
              </a:ext>
            </a:extLst>
          </p:cNvPr>
          <p:cNvSpPr/>
          <p:nvPr/>
        </p:nvSpPr>
        <p:spPr>
          <a:xfrm>
            <a:off x="2390189" y="4190883"/>
            <a:ext cx="205697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/>
              <a:t>После</a:t>
            </a:r>
            <a:r>
              <a:rPr lang="en-US" dirty="0"/>
              <a:t> </a:t>
            </a:r>
            <a:r>
              <a:rPr lang="ru-RU" dirty="0"/>
              <a:t>недавнего </a:t>
            </a:r>
          </a:p>
          <a:p>
            <a:pPr algn="ctr"/>
            <a:r>
              <a:rPr lang="ru-RU" dirty="0"/>
              <a:t>ОКС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B2D0780F-68EE-4DF8-9327-B9E58DBDCBC2}"/>
              </a:ext>
            </a:extLst>
          </p:cNvPr>
          <p:cNvCxnSpPr>
            <a:cxnSpLocks/>
            <a:endCxn id="8" idx="0"/>
          </p:cNvCxnSpPr>
          <p:nvPr/>
        </p:nvCxnSpPr>
        <p:spPr>
          <a:xfrm>
            <a:off x="5951505" y="2255584"/>
            <a:ext cx="1" cy="11182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E79255B0-6A12-420F-B747-0297EFDE4B3F}"/>
              </a:ext>
            </a:extLst>
          </p:cNvPr>
          <p:cNvCxnSpPr/>
          <p:nvPr/>
        </p:nvCxnSpPr>
        <p:spPr>
          <a:xfrm>
            <a:off x="3396000" y="2754000"/>
            <a:ext cx="0" cy="5936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D0F02A0C-F1CB-40E1-9541-1CC45628C6F1}"/>
              </a:ext>
            </a:extLst>
          </p:cNvPr>
          <p:cNvCxnSpPr/>
          <p:nvPr/>
        </p:nvCxnSpPr>
        <p:spPr>
          <a:xfrm>
            <a:off x="8256000" y="2744754"/>
            <a:ext cx="0" cy="5936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AB9A68A-B7B4-49AF-9690-7D4004BE118B}"/>
              </a:ext>
            </a:extLst>
          </p:cNvPr>
          <p:cNvCxnSpPr>
            <a:cxnSpLocks/>
          </p:cNvCxnSpPr>
          <p:nvPr/>
        </p:nvCxnSpPr>
        <p:spPr>
          <a:xfrm>
            <a:off x="3396000" y="2751959"/>
            <a:ext cx="4860000" cy="20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09D8DB8D-5602-4CAE-A431-94827034D4C1}"/>
              </a:ext>
            </a:extLst>
          </p:cNvPr>
          <p:cNvSpPr txBox="1"/>
          <p:nvPr/>
        </p:nvSpPr>
        <p:spPr>
          <a:xfrm>
            <a:off x="754254" y="933470"/>
            <a:ext cx="97882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Доказанные в РКИ </a:t>
            </a:r>
            <a:r>
              <a:rPr lang="ru-RU" b="1" dirty="0"/>
              <a:t>не статиновые </a:t>
            </a:r>
            <a:r>
              <a:rPr lang="ru-RU" dirty="0"/>
              <a:t>варианты лечения пациентов с ССЗ и высоким риском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E0B96F7-904B-4B60-AF36-4188BB8241BF}"/>
              </a:ext>
            </a:extLst>
          </p:cNvPr>
          <p:cNvSpPr/>
          <p:nvPr/>
        </p:nvSpPr>
        <p:spPr>
          <a:xfrm>
            <a:off x="3126000" y="5850668"/>
            <a:ext cx="660839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*эфир эйкозапентаеновой кислоты (ЭПК)</a:t>
            </a:r>
          </a:p>
          <a:p>
            <a:r>
              <a:rPr lang="ru-RU" sz="1400" dirty="0"/>
              <a:t>** ингибиторы пропротеин конвертазы субтилизина/кексина типа 9</a:t>
            </a:r>
            <a:r>
              <a:rPr lang="en-GB" sz="1400" dirty="0"/>
              <a:t>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94010868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889E52A-4C1F-4A4C-B693-1867AC829F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856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4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889E52A-4C1F-4A4C-B693-1867AC829F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A613BAA7-F796-4601-BF22-2429A61D28F1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ru-RU" dirty="0"/>
              <a:t>ОПРОС</a:t>
            </a:r>
          </a:p>
        </p:txBody>
      </p:sp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7" name="Add-in 6" title="Mentimeter">
                <a:extLst>
                  <a:ext uri="{FF2B5EF4-FFF2-40B4-BE49-F238E27FC236}">
                    <a16:creationId xmlns:a16="http://schemas.microsoft.com/office/drawing/2014/main" id="{B21925BD-3186-4842-AEC2-6B1B5FE56474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748754611"/>
                  </p:ext>
                </p:extLst>
              </p:nvPr>
            </p:nvGraphicFramePr>
            <p:xfrm>
              <a:off x="1119951" y="0"/>
              <a:ext cx="11072049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7" name="Add-in 6" title="Mentimeter">
                <a:extLst>
                  <a:ext uri="{FF2B5EF4-FFF2-40B4-BE49-F238E27FC236}">
                    <a16:creationId xmlns:a16="http://schemas.microsoft.com/office/drawing/2014/main" id="{B21925BD-3186-4842-AEC2-6B1B5FE56474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19951" y="0"/>
                <a:ext cx="11072049" cy="685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0241478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65593A0-7B9E-41CD-8C39-B260645020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254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8" name="think-cell Slide" r:id="rId9" imgW="362" imgH="362" progId="TCLayout.ActiveDocument.1">
                  <p:embed/>
                </p:oleObj>
              </mc:Choice>
              <mc:Fallback>
                <p:oleObj name="think-cell Slide" r:id="rId9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65593A0-7B9E-41CD-8C39-B26064502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2AF77FD-BE2B-4954-A24B-13B22C5BF0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>
              <a:latin typeface="DINPro-Medium" panose="02000503030000020004" pitchFamily="50" charset="0"/>
              <a:sym typeface="DINPro-Medium" panose="02000503030000020004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A40949-6845-4528-AD16-EE1EAA09D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10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B9993B26-6B92-414F-9A25-3D7B30DFA7BD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43274" y="2173288"/>
            <a:ext cx="5505450" cy="835025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square" lIns="122238" tIns="112713" rIns="0" bIns="112713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/>
              <a:t>ACC_AHA новые рекомендации по лечению </a:t>
            </a:r>
            <a:r>
              <a:rPr lang="ru-RU"/>
              <a:t>гиперхолестеринемии 2018</a:t>
            </a:r>
            <a:endParaRPr lang="ru-RU" dirty="0"/>
          </a:p>
        </p:txBody>
      </p:sp>
      <p:sp>
        <p:nvSpPr>
          <p:cNvPr id="23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EB662B3E-72C3-4979-9ADC-4570F394045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43275" y="3008313"/>
            <a:ext cx="5505450" cy="573088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none" lIns="122238" tIns="122238" rIns="0" bIns="122238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2400" dirty="0"/>
              <a:t>DECLARE –TIMI 58</a:t>
            </a:r>
            <a:endParaRPr lang="ru-RU" sz="2400" dirty="0"/>
          </a:p>
        </p:txBody>
      </p:sp>
      <p:sp>
        <p:nvSpPr>
          <p:cNvPr id="6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1AF4FB3A-57C4-4B0A-B0C2-949FCF632E4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43274" y="3581400"/>
            <a:ext cx="5505450" cy="573088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none" lIns="122238" tIns="122238" rIns="0" bIns="122238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2400" dirty="0"/>
              <a:t>REDUCE-IT</a:t>
            </a:r>
            <a:endParaRPr lang="ru-RU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5C51847-C381-4D8C-90FD-CFBEEFEADF1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43274" y="4154488"/>
            <a:ext cx="5505450" cy="53022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wrap="none" lIns="122238" tIns="112713" rIns="0" bIns="112713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b="1" dirty="0">
                <a:solidFill>
                  <a:schemeClr val="bg1"/>
                </a:solidFill>
              </a:rPr>
              <a:t>VITAL</a:t>
            </a:r>
            <a:endParaRPr lang="ru-RU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0672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263" dirty="0">
                <a:solidFill>
                  <a:srgbClr val="002060"/>
                </a:solidFill>
              </a:rPr>
              <a:t>Заявление об отказе об ответственности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28894" y="1449730"/>
            <a:ext cx="5222738" cy="2791726"/>
          </a:xfrm>
        </p:spPr>
        <p:txBody>
          <a:bodyPr>
            <a:normAutofit fontScale="92500" lnSpcReduction="10000"/>
          </a:bodyPr>
          <a:lstStyle/>
          <a:p>
            <a:pPr marL="323362" indent="-323362">
              <a:buFont typeface="+mj-lt"/>
              <a:buAutoNum type="arabicPeriod"/>
            </a:pPr>
            <a:r>
              <a:rPr lang="ru-RU" sz="1697" dirty="0">
                <a:solidFill>
                  <a:srgbClr val="002060"/>
                </a:solidFill>
              </a:rPr>
              <a:t>Мнение автора может не совпадать с позицией компании- производителя</a:t>
            </a:r>
          </a:p>
          <a:p>
            <a:pPr marL="323362" indent="-323362">
              <a:buFont typeface="+mj-lt"/>
              <a:buAutoNum type="arabicPeriod"/>
            </a:pPr>
            <a:r>
              <a:rPr lang="ru-RU" sz="1697" dirty="0">
                <a:solidFill>
                  <a:srgbClr val="002060"/>
                </a:solidFill>
              </a:rPr>
              <a:t>Информация о препаратах, которые обсуждается в данной презентации может выходить за пределы разрешенной к применению инструкции по применению препарата.</a:t>
            </a:r>
          </a:p>
          <a:p>
            <a:pPr marL="323362" indent="-323362">
              <a:buFont typeface="+mj-lt"/>
              <a:buAutoNum type="arabicPeriod"/>
            </a:pPr>
            <a:r>
              <a:rPr lang="ru-RU" sz="1697" dirty="0">
                <a:solidFill>
                  <a:srgbClr val="002060"/>
                </a:solidFill>
              </a:rPr>
              <a:t>Информация из данной презентации не является рекомендацией к его применению</a:t>
            </a:r>
          </a:p>
          <a:p>
            <a:pPr marL="323362" indent="-323362">
              <a:buFont typeface="+mj-lt"/>
              <a:buAutoNum type="arabicPeriod"/>
            </a:pPr>
            <a:r>
              <a:rPr lang="ru-RU" sz="1697" dirty="0">
                <a:solidFill>
                  <a:srgbClr val="002060"/>
                </a:solidFill>
              </a:rPr>
              <a:t>В презентации обсуждаются в том числе и препараты, которые не зарегистрированы на территории РФ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BB0F5BC-7072-4B45-A7BA-F2A6607398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F3F9096-8ED8-4F14-8F69-892A89853C22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097958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CC00F5-AA8F-4A7B-82FE-FDD1C4BC81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55B10DE-1CD0-47F4-9CE5-EDF2FAACA7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8541818" cy="5184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5A238335-1DCA-4568-AADD-26B488FC4CC3}"/>
              </a:ext>
            </a:extLst>
          </p:cNvPr>
          <p:cNvSpPr/>
          <p:nvPr/>
        </p:nvSpPr>
        <p:spPr>
          <a:xfrm>
            <a:off x="9516000" y="5724000"/>
            <a:ext cx="7751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/>
              <a:t>VITAL</a:t>
            </a:r>
            <a:endParaRPr lang="ru-RU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D9240AA-CD7F-493D-9F9E-BC110F05B256}"/>
              </a:ext>
            </a:extLst>
          </p:cNvPr>
          <p:cNvSpPr/>
          <p:nvPr/>
        </p:nvSpPr>
        <p:spPr>
          <a:xfrm>
            <a:off x="201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Christen, W. </a:t>
            </a:r>
            <a:r>
              <a:rPr lang="en-US" sz="1100" i="1" dirty="0"/>
              <a:t>et al.</a:t>
            </a:r>
            <a:r>
              <a:rPr lang="en-US" sz="1100" dirty="0"/>
              <a:t> Vitamin D Supplements and Prevention of Cancer and Cardiovascular Disease. (2018). doi:10.1056/NEJMoa1809944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08941802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323C6A-8C1B-4F54-A4C0-01B597199D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323C6A-8C1B-4F54-A4C0-01B597199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0A1334-1CCA-425E-B06F-B11E84A3F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TAL</a:t>
            </a:r>
            <a:endParaRPr lang="ru-RU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37C101E-A31A-4293-A45C-7184FE1B111B}"/>
              </a:ext>
            </a:extLst>
          </p:cNvPr>
          <p:cNvSpPr/>
          <p:nvPr/>
        </p:nvSpPr>
        <p:spPr>
          <a:xfrm>
            <a:off x="201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Christen, W. </a:t>
            </a:r>
            <a:r>
              <a:rPr lang="en-US" sz="1100" i="1" dirty="0"/>
              <a:t>et al.</a:t>
            </a:r>
            <a:r>
              <a:rPr lang="en-US" sz="1100" dirty="0"/>
              <a:t> Vitamin D Supplements and Prevention of Cancer and Cardiovascular Disease. (2018). doi:10.1056/NEJMoa1809944</a:t>
            </a:r>
            <a:endParaRPr lang="ru-RU" sz="11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031024-A977-4A60-B49E-3F1100E10AF5}"/>
              </a:ext>
            </a:extLst>
          </p:cNvPr>
          <p:cNvSpPr txBox="1"/>
          <p:nvPr/>
        </p:nvSpPr>
        <p:spPr>
          <a:xfrm>
            <a:off x="4791333" y="2156612"/>
            <a:ext cx="48557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dirty="0"/>
              <a:t>Витамин Д (2000 МЕ)</a:t>
            </a:r>
            <a:endParaRPr lang="ru-RU" baseline="30000" dirty="0">
              <a:solidFill>
                <a:srgbClr val="0070C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F09813-2A75-43C6-9E86-B18B7872009C}"/>
              </a:ext>
            </a:extLst>
          </p:cNvPr>
          <p:cNvSpPr txBox="1"/>
          <p:nvPr/>
        </p:nvSpPr>
        <p:spPr>
          <a:xfrm>
            <a:off x="4739899" y="4028643"/>
            <a:ext cx="107593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dirty="0"/>
              <a:t>плацебо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A5E2BD9-8CF5-409C-9C67-48C2B8BD614B}"/>
              </a:ext>
            </a:extLst>
          </p:cNvPr>
          <p:cNvGrpSpPr/>
          <p:nvPr/>
        </p:nvGrpSpPr>
        <p:grpSpPr>
          <a:xfrm>
            <a:off x="4828171" y="2880575"/>
            <a:ext cx="5130719" cy="283966"/>
            <a:chOff x="4828171" y="2880575"/>
            <a:chExt cx="5130719" cy="283966"/>
          </a:xfrm>
        </p:grpSpPr>
        <p:sp>
          <p:nvSpPr>
            <p:cNvPr id="13" name="Arrow: Pentagon 12">
              <a:extLst>
                <a:ext uri="{FF2B5EF4-FFF2-40B4-BE49-F238E27FC236}">
                  <a16:creationId xmlns:a16="http://schemas.microsoft.com/office/drawing/2014/main" id="{4FBB9118-44CD-4DBA-AAB8-7D28F0ADF2AD}"/>
                </a:ext>
              </a:extLst>
            </p:cNvPr>
            <p:cNvSpPr/>
            <p:nvPr/>
          </p:nvSpPr>
          <p:spPr>
            <a:xfrm>
              <a:off x="9209220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Arrow: Pentagon 13">
              <a:extLst>
                <a:ext uri="{FF2B5EF4-FFF2-40B4-BE49-F238E27FC236}">
                  <a16:creationId xmlns:a16="http://schemas.microsoft.com/office/drawing/2014/main" id="{860EB029-14A6-4A7B-BEB9-7B3772795FC2}"/>
                </a:ext>
              </a:extLst>
            </p:cNvPr>
            <p:cNvSpPr/>
            <p:nvPr/>
          </p:nvSpPr>
          <p:spPr>
            <a:xfrm>
              <a:off x="8569140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Arrow: Pentagon 14">
              <a:extLst>
                <a:ext uri="{FF2B5EF4-FFF2-40B4-BE49-F238E27FC236}">
                  <a16:creationId xmlns:a16="http://schemas.microsoft.com/office/drawing/2014/main" id="{1B110E42-5814-41FA-86D9-FFFA59AE8C53}"/>
                </a:ext>
              </a:extLst>
            </p:cNvPr>
            <p:cNvSpPr/>
            <p:nvPr/>
          </p:nvSpPr>
          <p:spPr>
            <a:xfrm>
              <a:off x="802857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Arrow: Pentagon 15">
              <a:extLst>
                <a:ext uri="{FF2B5EF4-FFF2-40B4-BE49-F238E27FC236}">
                  <a16:creationId xmlns:a16="http://schemas.microsoft.com/office/drawing/2014/main" id="{35E15ACF-028D-484A-B557-D927A5A36E26}"/>
                </a:ext>
              </a:extLst>
            </p:cNvPr>
            <p:cNvSpPr/>
            <p:nvPr/>
          </p:nvSpPr>
          <p:spPr>
            <a:xfrm>
              <a:off x="738849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EB935573-7C9B-4F2C-AA47-CDEF2628EFE3}"/>
                </a:ext>
              </a:extLst>
            </p:cNvPr>
            <p:cNvSpPr/>
            <p:nvPr/>
          </p:nvSpPr>
          <p:spPr>
            <a:xfrm>
              <a:off x="674841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Arrow: Pentagon 17">
              <a:extLst>
                <a:ext uri="{FF2B5EF4-FFF2-40B4-BE49-F238E27FC236}">
                  <a16:creationId xmlns:a16="http://schemas.microsoft.com/office/drawing/2014/main" id="{6E5E808C-A76D-47D7-BFBC-08E89708AED9}"/>
                </a:ext>
              </a:extLst>
            </p:cNvPr>
            <p:cNvSpPr/>
            <p:nvPr/>
          </p:nvSpPr>
          <p:spPr>
            <a:xfrm>
              <a:off x="610833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Arrow: Pentagon 18">
              <a:extLst>
                <a:ext uri="{FF2B5EF4-FFF2-40B4-BE49-F238E27FC236}">
                  <a16:creationId xmlns:a16="http://schemas.microsoft.com/office/drawing/2014/main" id="{8E3E7076-5AF8-4BD8-893F-81BDCF56AD3E}"/>
                </a:ext>
              </a:extLst>
            </p:cNvPr>
            <p:cNvSpPr/>
            <p:nvPr/>
          </p:nvSpPr>
          <p:spPr>
            <a:xfrm>
              <a:off x="546825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Arrow: Pentagon 19">
              <a:extLst>
                <a:ext uri="{FF2B5EF4-FFF2-40B4-BE49-F238E27FC236}">
                  <a16:creationId xmlns:a16="http://schemas.microsoft.com/office/drawing/2014/main" id="{8AC740D5-6B6A-4D31-AE74-C934D38D4BE9}"/>
                </a:ext>
              </a:extLst>
            </p:cNvPr>
            <p:cNvSpPr/>
            <p:nvPr/>
          </p:nvSpPr>
          <p:spPr>
            <a:xfrm>
              <a:off x="482817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772D9E-DA6E-4A95-A3EE-23483C06A5BF}"/>
              </a:ext>
            </a:extLst>
          </p:cNvPr>
          <p:cNvSpPr/>
          <p:nvPr/>
        </p:nvSpPr>
        <p:spPr>
          <a:xfrm>
            <a:off x="6283960" y="2880360"/>
            <a:ext cx="40641" cy="284481"/>
          </a:xfrm>
          <a:custGeom>
            <a:avLst/>
            <a:gdLst/>
            <a:ahLst/>
            <a:cxnLst/>
            <a:rect l="0" t="0" r="0" b="0"/>
            <a:pathLst>
              <a:path w="40641" h="284481">
                <a:moveTo>
                  <a:pt x="0" y="0"/>
                </a:moveTo>
                <a:lnTo>
                  <a:pt x="0" y="0"/>
                </a:lnTo>
                <a:lnTo>
                  <a:pt x="40640" y="142240"/>
                </a:lnTo>
                <a:lnTo>
                  <a:pt x="0" y="284480"/>
                </a:lnTo>
              </a:path>
            </a:pathLst>
          </a:custGeom>
          <a:ln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C498F307-74EE-4C80-85C4-F2FBFABE99C7}"/>
              </a:ext>
            </a:extLst>
          </p:cNvPr>
          <p:cNvSpPr/>
          <p:nvPr/>
        </p:nvSpPr>
        <p:spPr>
          <a:xfrm>
            <a:off x="5443590" y="2880060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783844F5-5C92-4EAF-B085-F43C11F13AB1}"/>
              </a:ext>
            </a:extLst>
          </p:cNvPr>
          <p:cNvSpPr/>
          <p:nvPr/>
        </p:nvSpPr>
        <p:spPr>
          <a:xfrm>
            <a:off x="6114151" y="2880059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5A2C7234-0ACA-47E0-A794-58B31C989220}"/>
              </a:ext>
            </a:extLst>
          </p:cNvPr>
          <p:cNvSpPr/>
          <p:nvPr/>
        </p:nvSpPr>
        <p:spPr>
          <a:xfrm>
            <a:off x="6723750" y="2880059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1C1A61BD-7C52-4162-9D43-0A0993DC5958}"/>
              </a:ext>
            </a:extLst>
          </p:cNvPr>
          <p:cNvSpPr/>
          <p:nvPr/>
        </p:nvSpPr>
        <p:spPr>
          <a:xfrm>
            <a:off x="7394311" y="2880058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CD3D7907-39CD-4B31-B8CA-76E37B80E35F}"/>
              </a:ext>
            </a:extLst>
          </p:cNvPr>
          <p:cNvSpPr/>
          <p:nvPr/>
        </p:nvSpPr>
        <p:spPr>
          <a:xfrm>
            <a:off x="8009649" y="2880058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FA6AB2C8-9C40-4FEA-A456-4606D552F72B}"/>
              </a:ext>
            </a:extLst>
          </p:cNvPr>
          <p:cNvSpPr/>
          <p:nvPr/>
        </p:nvSpPr>
        <p:spPr>
          <a:xfrm>
            <a:off x="8680210" y="2880057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65B7A763-7386-47C0-B972-B2A9F6179E55}"/>
              </a:ext>
            </a:extLst>
          </p:cNvPr>
          <p:cNvSpPr/>
          <p:nvPr/>
        </p:nvSpPr>
        <p:spPr>
          <a:xfrm>
            <a:off x="9199914" y="2880057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01A863EF-5DC7-4F62-B69B-85ED682800D0}"/>
              </a:ext>
            </a:extLst>
          </p:cNvPr>
          <p:cNvSpPr/>
          <p:nvPr/>
        </p:nvSpPr>
        <p:spPr>
          <a:xfrm>
            <a:off x="9870475" y="2880056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52EDB6A-5363-4DEF-A266-A81A5FB36499}"/>
              </a:ext>
            </a:extLst>
          </p:cNvPr>
          <p:cNvGrpSpPr/>
          <p:nvPr/>
        </p:nvGrpSpPr>
        <p:grpSpPr>
          <a:xfrm>
            <a:off x="4858028" y="3377182"/>
            <a:ext cx="5130719" cy="283966"/>
            <a:chOff x="4828171" y="2880575"/>
            <a:chExt cx="5130719" cy="283966"/>
          </a:xfrm>
        </p:grpSpPr>
        <p:sp>
          <p:nvSpPr>
            <p:cNvPr id="31" name="Arrow: Pentagon 30">
              <a:extLst>
                <a:ext uri="{FF2B5EF4-FFF2-40B4-BE49-F238E27FC236}">
                  <a16:creationId xmlns:a16="http://schemas.microsoft.com/office/drawing/2014/main" id="{AE3D904D-1AA8-415D-8E37-56622468330D}"/>
                </a:ext>
              </a:extLst>
            </p:cNvPr>
            <p:cNvSpPr/>
            <p:nvPr/>
          </p:nvSpPr>
          <p:spPr>
            <a:xfrm>
              <a:off x="9209220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Arrow: Pentagon 31">
              <a:extLst>
                <a:ext uri="{FF2B5EF4-FFF2-40B4-BE49-F238E27FC236}">
                  <a16:creationId xmlns:a16="http://schemas.microsoft.com/office/drawing/2014/main" id="{C91D582E-9DD2-4075-9889-249C2B85E139}"/>
                </a:ext>
              </a:extLst>
            </p:cNvPr>
            <p:cNvSpPr/>
            <p:nvPr/>
          </p:nvSpPr>
          <p:spPr>
            <a:xfrm>
              <a:off x="8569140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Arrow: Pentagon 32">
              <a:extLst>
                <a:ext uri="{FF2B5EF4-FFF2-40B4-BE49-F238E27FC236}">
                  <a16:creationId xmlns:a16="http://schemas.microsoft.com/office/drawing/2014/main" id="{8371B544-FFC4-4EA2-9985-BA58A94CDB48}"/>
                </a:ext>
              </a:extLst>
            </p:cNvPr>
            <p:cNvSpPr/>
            <p:nvPr/>
          </p:nvSpPr>
          <p:spPr>
            <a:xfrm>
              <a:off x="802857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Arrow: Pentagon 33">
              <a:extLst>
                <a:ext uri="{FF2B5EF4-FFF2-40B4-BE49-F238E27FC236}">
                  <a16:creationId xmlns:a16="http://schemas.microsoft.com/office/drawing/2014/main" id="{5720B614-A744-463A-A3EA-5C35BA68532D}"/>
                </a:ext>
              </a:extLst>
            </p:cNvPr>
            <p:cNvSpPr/>
            <p:nvPr/>
          </p:nvSpPr>
          <p:spPr>
            <a:xfrm>
              <a:off x="738849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Arrow: Pentagon 34">
              <a:extLst>
                <a:ext uri="{FF2B5EF4-FFF2-40B4-BE49-F238E27FC236}">
                  <a16:creationId xmlns:a16="http://schemas.microsoft.com/office/drawing/2014/main" id="{92F02D59-8950-4F92-A068-72B0FF1CE147}"/>
                </a:ext>
              </a:extLst>
            </p:cNvPr>
            <p:cNvSpPr/>
            <p:nvPr/>
          </p:nvSpPr>
          <p:spPr>
            <a:xfrm>
              <a:off x="674841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Arrow: Pentagon 35">
              <a:extLst>
                <a:ext uri="{FF2B5EF4-FFF2-40B4-BE49-F238E27FC236}">
                  <a16:creationId xmlns:a16="http://schemas.microsoft.com/office/drawing/2014/main" id="{45334B46-B419-4DEE-9595-2EE5625E8E6A}"/>
                </a:ext>
              </a:extLst>
            </p:cNvPr>
            <p:cNvSpPr/>
            <p:nvPr/>
          </p:nvSpPr>
          <p:spPr>
            <a:xfrm>
              <a:off x="610833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Arrow: Pentagon 36">
              <a:extLst>
                <a:ext uri="{FF2B5EF4-FFF2-40B4-BE49-F238E27FC236}">
                  <a16:creationId xmlns:a16="http://schemas.microsoft.com/office/drawing/2014/main" id="{ABE4E2CA-635F-449E-9C6A-23D99CE5C7E8}"/>
                </a:ext>
              </a:extLst>
            </p:cNvPr>
            <p:cNvSpPr/>
            <p:nvPr/>
          </p:nvSpPr>
          <p:spPr>
            <a:xfrm>
              <a:off x="546825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Arrow: Pentagon 37">
              <a:extLst>
                <a:ext uri="{FF2B5EF4-FFF2-40B4-BE49-F238E27FC236}">
                  <a16:creationId xmlns:a16="http://schemas.microsoft.com/office/drawing/2014/main" id="{F40EA667-7F73-4F65-BB6A-79EFC9A28E44}"/>
                </a:ext>
              </a:extLst>
            </p:cNvPr>
            <p:cNvSpPr/>
            <p:nvPr/>
          </p:nvSpPr>
          <p:spPr>
            <a:xfrm>
              <a:off x="482817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C768A7F8-1809-496B-AECE-5D42ECC661B2}"/>
              </a:ext>
            </a:extLst>
          </p:cNvPr>
          <p:cNvSpPr/>
          <p:nvPr/>
        </p:nvSpPr>
        <p:spPr>
          <a:xfrm>
            <a:off x="5476865" y="3374624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A10C5C59-A320-466B-98D5-8DCFF4791E21}"/>
              </a:ext>
            </a:extLst>
          </p:cNvPr>
          <p:cNvSpPr/>
          <p:nvPr/>
        </p:nvSpPr>
        <p:spPr>
          <a:xfrm>
            <a:off x="6122026" y="3374623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7EA4EA0E-AAC4-445C-99E5-2F0EFF908215}"/>
              </a:ext>
            </a:extLst>
          </p:cNvPr>
          <p:cNvSpPr/>
          <p:nvPr/>
        </p:nvSpPr>
        <p:spPr>
          <a:xfrm>
            <a:off x="6757025" y="3374623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2" name="Arrow: Chevron 41">
            <a:extLst>
              <a:ext uri="{FF2B5EF4-FFF2-40B4-BE49-F238E27FC236}">
                <a16:creationId xmlns:a16="http://schemas.microsoft.com/office/drawing/2014/main" id="{CF1DE81E-C91F-4943-8A9B-117062B758AE}"/>
              </a:ext>
            </a:extLst>
          </p:cNvPr>
          <p:cNvSpPr/>
          <p:nvPr/>
        </p:nvSpPr>
        <p:spPr>
          <a:xfrm>
            <a:off x="7407266" y="3374622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3" name="Arrow: Chevron 42">
            <a:extLst>
              <a:ext uri="{FF2B5EF4-FFF2-40B4-BE49-F238E27FC236}">
                <a16:creationId xmlns:a16="http://schemas.microsoft.com/office/drawing/2014/main" id="{94058E63-A733-4D1B-9A48-ECB3519CB9C7}"/>
              </a:ext>
            </a:extLst>
          </p:cNvPr>
          <p:cNvSpPr/>
          <p:nvPr/>
        </p:nvSpPr>
        <p:spPr>
          <a:xfrm>
            <a:off x="8042924" y="3374622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92FA7B3E-1011-4099-B609-967154C98CF6}"/>
              </a:ext>
            </a:extLst>
          </p:cNvPr>
          <p:cNvSpPr/>
          <p:nvPr/>
        </p:nvSpPr>
        <p:spPr>
          <a:xfrm>
            <a:off x="8688085" y="3374621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5" name="Arrow: Chevron 44">
            <a:extLst>
              <a:ext uri="{FF2B5EF4-FFF2-40B4-BE49-F238E27FC236}">
                <a16:creationId xmlns:a16="http://schemas.microsoft.com/office/drawing/2014/main" id="{6F19D35F-4995-41BC-9C9E-6843D4B6866E}"/>
              </a:ext>
            </a:extLst>
          </p:cNvPr>
          <p:cNvSpPr/>
          <p:nvPr/>
        </p:nvSpPr>
        <p:spPr>
          <a:xfrm>
            <a:off x="9233189" y="3374621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E0F378BE-86C5-4021-8A64-EE759367D112}"/>
              </a:ext>
            </a:extLst>
          </p:cNvPr>
          <p:cNvSpPr/>
          <p:nvPr/>
        </p:nvSpPr>
        <p:spPr>
          <a:xfrm>
            <a:off x="4333911" y="3294148"/>
            <a:ext cx="432000" cy="432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D9BE11E-FE8C-4B89-9668-A54F98538CE9}"/>
              </a:ext>
            </a:extLst>
          </p:cNvPr>
          <p:cNvSpPr txBox="1"/>
          <p:nvPr/>
        </p:nvSpPr>
        <p:spPr>
          <a:xfrm>
            <a:off x="3192608" y="3104492"/>
            <a:ext cx="5332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:1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0A58C219-49AD-4B3B-A83B-1E91936660B2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3004481" y="2830424"/>
            <a:ext cx="891998" cy="886488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511808A8-76B1-4F85-93C4-0524CC413C89}"/>
              </a:ext>
            </a:extLst>
          </p:cNvPr>
          <p:cNvGrpSpPr/>
          <p:nvPr/>
        </p:nvGrpSpPr>
        <p:grpSpPr>
          <a:xfrm>
            <a:off x="880475" y="2291850"/>
            <a:ext cx="1576070" cy="1967830"/>
            <a:chOff x="1264920" y="4343401"/>
            <a:chExt cx="2171700" cy="2384911"/>
          </a:xfrm>
        </p:grpSpPr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87227788-BD36-4A2E-84F7-8B7A518DAB87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0" t="30339" r="-2637" b="29284"/>
            <a:stretch/>
          </p:blipFill>
          <p:spPr>
            <a:xfrm>
              <a:off x="1264920" y="4343401"/>
              <a:ext cx="1501140" cy="632460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E0F423BE-21F6-46CC-89CF-CD5E6181B21F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1" t="30338" r="50674" b="32872"/>
            <a:stretch/>
          </p:blipFill>
          <p:spPr>
            <a:xfrm>
              <a:off x="2705350" y="4343401"/>
              <a:ext cx="731270" cy="576261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E10D814A-8749-487C-9520-9A7064E28EB6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0" t="30339" r="-2637" b="29284"/>
            <a:stretch/>
          </p:blipFill>
          <p:spPr>
            <a:xfrm>
              <a:off x="1264920" y="4919628"/>
              <a:ext cx="1501140" cy="632460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2D33EEF9-D93F-442F-A0B8-AA268A6ECE58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1" t="30338" r="50674" b="32872"/>
            <a:stretch/>
          </p:blipFill>
          <p:spPr>
            <a:xfrm>
              <a:off x="2705350" y="4919628"/>
              <a:ext cx="731270" cy="576261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C839B614-9574-4526-A2C5-BE135FAFB392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0" t="30339" r="-2637" b="29284"/>
            <a:stretch/>
          </p:blipFill>
          <p:spPr>
            <a:xfrm>
              <a:off x="1264920" y="5519625"/>
              <a:ext cx="1501140" cy="632460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E9956F80-2B34-4FC9-B4BA-2828C433A461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1" t="30338" r="50674" b="32872"/>
            <a:stretch/>
          </p:blipFill>
          <p:spPr>
            <a:xfrm>
              <a:off x="2705350" y="5519625"/>
              <a:ext cx="731270" cy="576261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3FFA08BA-05D2-44E5-9C8D-E42981F3FB00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0" t="30339" r="-2637" b="29284"/>
            <a:stretch/>
          </p:blipFill>
          <p:spPr>
            <a:xfrm>
              <a:off x="1264920" y="6095852"/>
              <a:ext cx="1501140" cy="632460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ED288C83-C31D-43CF-AAD6-9DD4666B8598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1" t="30338" r="50674" b="32872"/>
            <a:stretch/>
          </p:blipFill>
          <p:spPr>
            <a:xfrm>
              <a:off x="2705350" y="6095852"/>
              <a:ext cx="731270" cy="576261"/>
            </a:xfrm>
            <a:prstGeom prst="rect">
              <a:avLst/>
            </a:prstGeom>
          </p:spPr>
        </p:pic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7B752627-87BC-4520-9EBF-7F85813F0358}"/>
              </a:ext>
            </a:extLst>
          </p:cNvPr>
          <p:cNvSpPr/>
          <p:nvPr/>
        </p:nvSpPr>
        <p:spPr>
          <a:xfrm>
            <a:off x="846382" y="2258835"/>
            <a:ext cx="1704942" cy="2231571"/>
          </a:xfrm>
          <a:prstGeom prst="rect">
            <a:avLst/>
          </a:prstGeom>
          <a:gradFill flip="none" rotWithShape="1">
            <a:gsLst>
              <a:gs pos="96000">
                <a:schemeClr val="bg1">
                  <a:lumMod val="75000"/>
                  <a:alpha val="0"/>
                </a:schemeClr>
              </a:gs>
              <a:gs pos="47000">
                <a:schemeClr val="bg1">
                  <a:lumMod val="95000"/>
                  <a:alpha val="81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7291833-C940-4898-BA57-1AA45006C547}"/>
              </a:ext>
            </a:extLst>
          </p:cNvPr>
          <p:cNvSpPr/>
          <p:nvPr/>
        </p:nvSpPr>
        <p:spPr>
          <a:xfrm>
            <a:off x="978487" y="2595310"/>
            <a:ext cx="1448370" cy="136580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12A1EAA2-7F97-421C-93E0-C8A0B68E31C0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065168" y="2495610"/>
            <a:ext cx="1275007" cy="1529755"/>
          </a:xfrm>
          <a:prstGeom prst="rect">
            <a:avLst/>
          </a:prstGeom>
        </p:spPr>
      </p:pic>
      <p:grpSp>
        <p:nvGrpSpPr>
          <p:cNvPr id="61" name="Group 60">
            <a:extLst>
              <a:ext uri="{FF2B5EF4-FFF2-40B4-BE49-F238E27FC236}">
                <a16:creationId xmlns:a16="http://schemas.microsoft.com/office/drawing/2014/main" id="{974300C8-AB1F-4EEE-AB2E-A390928A49BD}"/>
              </a:ext>
            </a:extLst>
          </p:cNvPr>
          <p:cNvGrpSpPr/>
          <p:nvPr/>
        </p:nvGrpSpPr>
        <p:grpSpPr>
          <a:xfrm>
            <a:off x="4315030" y="2788296"/>
            <a:ext cx="469763" cy="432000"/>
            <a:chOff x="4330069" y="2072245"/>
            <a:chExt cx="432001" cy="43200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F55AF94-7E20-45A9-A90C-79CD6BAA69AF}"/>
                </a:ext>
              </a:extLst>
            </p:cNvPr>
            <p:cNvSpPr/>
            <p:nvPr/>
          </p:nvSpPr>
          <p:spPr>
            <a:xfrm>
              <a:off x="4330069" y="2072245"/>
              <a:ext cx="432000" cy="4320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F85B3A2E-0777-4269-AB17-5D1E748EDD44}"/>
                </a:ext>
              </a:extLst>
            </p:cNvPr>
            <p:cNvPicPr>
              <a:picLocks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330069" y="2103579"/>
              <a:ext cx="432001" cy="369332"/>
            </a:xfrm>
            <a:prstGeom prst="rect">
              <a:avLst/>
            </a:prstGeom>
          </p:spPr>
        </p:pic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95669944-CEE6-453C-BD1E-839B7F4935E3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4321570" y="3325482"/>
            <a:ext cx="469763" cy="369332"/>
          </a:xfrm>
          <a:prstGeom prst="rect">
            <a:avLst/>
          </a:prstGeom>
        </p:spPr>
      </p:pic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11BBCA1A-7C39-4AF1-A0B6-A1D2ACDC402B}"/>
              </a:ext>
            </a:extLst>
          </p:cNvPr>
          <p:cNvCxnSpPr>
            <a:cxnSpLocks/>
            <a:endCxn id="62" idx="2"/>
          </p:cNvCxnSpPr>
          <p:nvPr/>
        </p:nvCxnSpPr>
        <p:spPr>
          <a:xfrm flipV="1">
            <a:off x="3926580" y="3004296"/>
            <a:ext cx="388450" cy="212909"/>
          </a:xfrm>
          <a:prstGeom prst="bentConnector3">
            <a:avLst>
              <a:gd name="adj1" fmla="val 8138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D153EF78-C3A7-4F5E-9D7C-24E539DB17DE}"/>
              </a:ext>
            </a:extLst>
          </p:cNvPr>
          <p:cNvCxnSpPr>
            <a:cxnSpLocks/>
            <a:endCxn id="64" idx="1"/>
          </p:cNvCxnSpPr>
          <p:nvPr/>
        </p:nvCxnSpPr>
        <p:spPr>
          <a:xfrm>
            <a:off x="3939919" y="3289158"/>
            <a:ext cx="381651" cy="220990"/>
          </a:xfrm>
          <a:prstGeom prst="bentConnector3">
            <a:avLst>
              <a:gd name="adj1" fmla="val 7695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66">
            <a:extLst>
              <a:ext uri="{FF2B5EF4-FFF2-40B4-BE49-F238E27FC236}">
                <a16:creationId xmlns:a16="http://schemas.microsoft.com/office/drawing/2014/main" id="{7538781D-2489-4371-B64D-7DB2CF232470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10119883" y="2534251"/>
            <a:ext cx="873335" cy="859420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FAB07695-91DE-42D9-ACCC-1E8B8C7BEAA2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10071409" y="2491678"/>
            <a:ext cx="959344" cy="944565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EAFB8CBB-A106-4896-8E36-6A47804E88BD}"/>
              </a:ext>
            </a:extLst>
          </p:cNvPr>
          <p:cNvSpPr txBox="1"/>
          <p:nvPr/>
        </p:nvSpPr>
        <p:spPr>
          <a:xfrm>
            <a:off x="10191769" y="2779294"/>
            <a:ext cx="7411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OP</a:t>
            </a:r>
            <a:endParaRPr lang="ru-RU" dirty="0">
              <a:solidFill>
                <a:schemeClr val="bg1"/>
              </a:solidFill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12A3FC0-0FE9-437D-B6C7-4F6F0C66AE90}"/>
              </a:ext>
            </a:extLst>
          </p:cNvPr>
          <p:cNvCxnSpPr>
            <a:cxnSpLocks/>
          </p:cNvCxnSpPr>
          <p:nvPr/>
        </p:nvCxnSpPr>
        <p:spPr>
          <a:xfrm flipV="1">
            <a:off x="10551081" y="3393671"/>
            <a:ext cx="10081" cy="553489"/>
          </a:xfrm>
          <a:prstGeom prst="line">
            <a:avLst/>
          </a:prstGeom>
          <a:ln w="825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B89A3AEA-42C2-4D11-979C-767B069C1219}"/>
              </a:ext>
            </a:extLst>
          </p:cNvPr>
          <p:cNvSpPr/>
          <p:nvPr/>
        </p:nvSpPr>
        <p:spPr>
          <a:xfrm>
            <a:off x="10070371" y="3489362"/>
            <a:ext cx="1143142" cy="38830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5,3 года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E61B1AF-4078-4E76-99FA-A88027F5BD08}"/>
              </a:ext>
            </a:extLst>
          </p:cNvPr>
          <p:cNvSpPr txBox="1"/>
          <p:nvPr/>
        </p:nvSpPr>
        <p:spPr>
          <a:xfrm>
            <a:off x="645294" y="1836462"/>
            <a:ext cx="2075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скрининг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B1008A0-9C1F-429F-ADD0-54C46FAD6E29}"/>
              </a:ext>
            </a:extLst>
          </p:cNvPr>
          <p:cNvSpPr txBox="1"/>
          <p:nvPr/>
        </p:nvSpPr>
        <p:spPr>
          <a:xfrm>
            <a:off x="2416883" y="3757439"/>
            <a:ext cx="2075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4472C4"/>
                </a:solidFill>
              </a:rPr>
              <a:t>рандомизация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3D94D7-1BB9-45CD-BE0B-11940145E48F}"/>
              </a:ext>
            </a:extLst>
          </p:cNvPr>
          <p:cNvSpPr txBox="1"/>
          <p:nvPr/>
        </p:nvSpPr>
        <p:spPr>
          <a:xfrm>
            <a:off x="2769291" y="2415867"/>
            <a:ext cx="13705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N</a:t>
            </a:r>
            <a:r>
              <a:rPr lang="ru-RU" dirty="0"/>
              <a:t> </a:t>
            </a:r>
            <a:r>
              <a:rPr lang="en-US" dirty="0"/>
              <a:t>=</a:t>
            </a:r>
            <a:r>
              <a:rPr lang="ru-RU" dirty="0"/>
              <a:t>25,871 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E3422BF-094A-4AC7-AA6E-3AF0AA29CDE2}"/>
              </a:ext>
            </a:extLst>
          </p:cNvPr>
          <p:cNvSpPr/>
          <p:nvPr/>
        </p:nvSpPr>
        <p:spPr>
          <a:xfrm>
            <a:off x="521273" y="4496375"/>
            <a:ext cx="38126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ациенты без онкологических или СС заболеваний старше 50 лет м, и 55 лет ж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AA9F887-3A08-441B-84CF-6FD516898010}"/>
              </a:ext>
            </a:extLst>
          </p:cNvPr>
          <p:cNvSpPr/>
          <p:nvPr/>
        </p:nvSpPr>
        <p:spPr>
          <a:xfrm>
            <a:off x="9773441" y="4074810"/>
            <a:ext cx="19136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Медиана наблюдения</a:t>
            </a:r>
          </a:p>
        </p:txBody>
      </p:sp>
    </p:spTree>
    <p:extLst>
      <p:ext uri="{BB962C8B-B14F-4D97-AF65-F5344CB8AC3E}">
        <p14:creationId xmlns:p14="http://schemas.microsoft.com/office/powerpoint/2010/main" val="67343285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323C6A-8C1B-4F54-A4C0-01B597199D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323C6A-8C1B-4F54-A4C0-01B597199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0A1334-1CCA-425E-B06F-B11E84A3F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TAL</a:t>
            </a:r>
            <a:endParaRPr lang="ru-RU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37C101E-A31A-4293-A45C-7184FE1B111B}"/>
              </a:ext>
            </a:extLst>
          </p:cNvPr>
          <p:cNvSpPr/>
          <p:nvPr/>
        </p:nvSpPr>
        <p:spPr>
          <a:xfrm>
            <a:off x="201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Christen, W. </a:t>
            </a:r>
            <a:r>
              <a:rPr lang="en-US" sz="1100" i="1" dirty="0"/>
              <a:t>et al.</a:t>
            </a:r>
            <a:r>
              <a:rPr lang="en-US" sz="1100" dirty="0"/>
              <a:t> Vitamin D Supplements and Prevention of Cancer and Cardiovascular Disease. (2018). doi:10.1056/NEJMoa1809944</a:t>
            </a:r>
            <a:endParaRPr lang="ru-RU" sz="11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031024-A977-4A60-B49E-3F1100E10AF5}"/>
              </a:ext>
            </a:extLst>
          </p:cNvPr>
          <p:cNvSpPr txBox="1"/>
          <p:nvPr/>
        </p:nvSpPr>
        <p:spPr>
          <a:xfrm>
            <a:off x="4791333" y="2156612"/>
            <a:ext cx="485574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dirty="0"/>
              <a:t>3- омега ЖК 1 г / день</a:t>
            </a:r>
            <a:endParaRPr lang="ru-RU" baseline="30000" dirty="0">
              <a:solidFill>
                <a:srgbClr val="0070C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2F09813-2A75-43C6-9E86-B18B7872009C}"/>
              </a:ext>
            </a:extLst>
          </p:cNvPr>
          <p:cNvSpPr txBox="1"/>
          <p:nvPr/>
        </p:nvSpPr>
        <p:spPr>
          <a:xfrm>
            <a:off x="4739899" y="4028643"/>
            <a:ext cx="1075936" cy="3693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dirty="0"/>
              <a:t>плацебо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A5E2BD9-8CF5-409C-9C67-48C2B8BD614B}"/>
              </a:ext>
            </a:extLst>
          </p:cNvPr>
          <p:cNvGrpSpPr/>
          <p:nvPr/>
        </p:nvGrpSpPr>
        <p:grpSpPr>
          <a:xfrm>
            <a:off x="4828171" y="2880575"/>
            <a:ext cx="5130719" cy="283966"/>
            <a:chOff x="4828171" y="2880575"/>
            <a:chExt cx="5130719" cy="283966"/>
          </a:xfrm>
        </p:grpSpPr>
        <p:sp>
          <p:nvSpPr>
            <p:cNvPr id="13" name="Arrow: Pentagon 12">
              <a:extLst>
                <a:ext uri="{FF2B5EF4-FFF2-40B4-BE49-F238E27FC236}">
                  <a16:creationId xmlns:a16="http://schemas.microsoft.com/office/drawing/2014/main" id="{4FBB9118-44CD-4DBA-AAB8-7D28F0ADF2AD}"/>
                </a:ext>
              </a:extLst>
            </p:cNvPr>
            <p:cNvSpPr/>
            <p:nvPr/>
          </p:nvSpPr>
          <p:spPr>
            <a:xfrm>
              <a:off x="9209220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Arrow: Pentagon 13">
              <a:extLst>
                <a:ext uri="{FF2B5EF4-FFF2-40B4-BE49-F238E27FC236}">
                  <a16:creationId xmlns:a16="http://schemas.microsoft.com/office/drawing/2014/main" id="{860EB029-14A6-4A7B-BEB9-7B3772795FC2}"/>
                </a:ext>
              </a:extLst>
            </p:cNvPr>
            <p:cNvSpPr/>
            <p:nvPr/>
          </p:nvSpPr>
          <p:spPr>
            <a:xfrm>
              <a:off x="8569140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Arrow: Pentagon 14">
              <a:extLst>
                <a:ext uri="{FF2B5EF4-FFF2-40B4-BE49-F238E27FC236}">
                  <a16:creationId xmlns:a16="http://schemas.microsoft.com/office/drawing/2014/main" id="{1B110E42-5814-41FA-86D9-FFFA59AE8C53}"/>
                </a:ext>
              </a:extLst>
            </p:cNvPr>
            <p:cNvSpPr/>
            <p:nvPr/>
          </p:nvSpPr>
          <p:spPr>
            <a:xfrm>
              <a:off x="802857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Arrow: Pentagon 15">
              <a:extLst>
                <a:ext uri="{FF2B5EF4-FFF2-40B4-BE49-F238E27FC236}">
                  <a16:creationId xmlns:a16="http://schemas.microsoft.com/office/drawing/2014/main" id="{35E15ACF-028D-484A-B557-D927A5A36E26}"/>
                </a:ext>
              </a:extLst>
            </p:cNvPr>
            <p:cNvSpPr/>
            <p:nvPr/>
          </p:nvSpPr>
          <p:spPr>
            <a:xfrm>
              <a:off x="738849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EB935573-7C9B-4F2C-AA47-CDEF2628EFE3}"/>
                </a:ext>
              </a:extLst>
            </p:cNvPr>
            <p:cNvSpPr/>
            <p:nvPr/>
          </p:nvSpPr>
          <p:spPr>
            <a:xfrm>
              <a:off x="674841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Arrow: Pentagon 17">
              <a:extLst>
                <a:ext uri="{FF2B5EF4-FFF2-40B4-BE49-F238E27FC236}">
                  <a16:creationId xmlns:a16="http://schemas.microsoft.com/office/drawing/2014/main" id="{6E5E808C-A76D-47D7-BFBC-08E89708AED9}"/>
                </a:ext>
              </a:extLst>
            </p:cNvPr>
            <p:cNvSpPr/>
            <p:nvPr/>
          </p:nvSpPr>
          <p:spPr>
            <a:xfrm>
              <a:off x="610833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Arrow: Pentagon 18">
              <a:extLst>
                <a:ext uri="{FF2B5EF4-FFF2-40B4-BE49-F238E27FC236}">
                  <a16:creationId xmlns:a16="http://schemas.microsoft.com/office/drawing/2014/main" id="{8E3E7076-5AF8-4BD8-893F-81BDCF56AD3E}"/>
                </a:ext>
              </a:extLst>
            </p:cNvPr>
            <p:cNvSpPr/>
            <p:nvPr/>
          </p:nvSpPr>
          <p:spPr>
            <a:xfrm>
              <a:off x="546825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Arrow: Pentagon 19">
              <a:extLst>
                <a:ext uri="{FF2B5EF4-FFF2-40B4-BE49-F238E27FC236}">
                  <a16:creationId xmlns:a16="http://schemas.microsoft.com/office/drawing/2014/main" id="{8AC740D5-6B6A-4D31-AE74-C934D38D4BE9}"/>
                </a:ext>
              </a:extLst>
            </p:cNvPr>
            <p:cNvSpPr/>
            <p:nvPr/>
          </p:nvSpPr>
          <p:spPr>
            <a:xfrm>
              <a:off x="4828171" y="2880575"/>
              <a:ext cx="749670" cy="283966"/>
            </a:xfrm>
            <a:prstGeom prst="homePlate">
              <a:avLst>
                <a:gd name="adj" fmla="val 37477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29772D9E-DA6E-4A95-A3EE-23483C06A5BF}"/>
              </a:ext>
            </a:extLst>
          </p:cNvPr>
          <p:cNvSpPr/>
          <p:nvPr/>
        </p:nvSpPr>
        <p:spPr>
          <a:xfrm>
            <a:off x="6283960" y="2880360"/>
            <a:ext cx="40641" cy="284481"/>
          </a:xfrm>
          <a:custGeom>
            <a:avLst/>
            <a:gdLst/>
            <a:ahLst/>
            <a:cxnLst/>
            <a:rect l="0" t="0" r="0" b="0"/>
            <a:pathLst>
              <a:path w="40641" h="284481">
                <a:moveTo>
                  <a:pt x="0" y="0"/>
                </a:moveTo>
                <a:lnTo>
                  <a:pt x="0" y="0"/>
                </a:lnTo>
                <a:lnTo>
                  <a:pt x="40640" y="142240"/>
                </a:lnTo>
                <a:lnTo>
                  <a:pt x="0" y="284480"/>
                </a:lnTo>
              </a:path>
            </a:pathLst>
          </a:custGeom>
          <a:ln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Arrow: Chevron 21">
            <a:extLst>
              <a:ext uri="{FF2B5EF4-FFF2-40B4-BE49-F238E27FC236}">
                <a16:creationId xmlns:a16="http://schemas.microsoft.com/office/drawing/2014/main" id="{C498F307-74EE-4C80-85C4-F2FBFABE99C7}"/>
              </a:ext>
            </a:extLst>
          </p:cNvPr>
          <p:cNvSpPr/>
          <p:nvPr/>
        </p:nvSpPr>
        <p:spPr>
          <a:xfrm>
            <a:off x="5443590" y="2880060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Arrow: Chevron 22">
            <a:extLst>
              <a:ext uri="{FF2B5EF4-FFF2-40B4-BE49-F238E27FC236}">
                <a16:creationId xmlns:a16="http://schemas.microsoft.com/office/drawing/2014/main" id="{783844F5-5C92-4EAF-B085-F43C11F13AB1}"/>
              </a:ext>
            </a:extLst>
          </p:cNvPr>
          <p:cNvSpPr/>
          <p:nvPr/>
        </p:nvSpPr>
        <p:spPr>
          <a:xfrm>
            <a:off x="6114151" y="2880059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4" name="Arrow: Chevron 23">
            <a:extLst>
              <a:ext uri="{FF2B5EF4-FFF2-40B4-BE49-F238E27FC236}">
                <a16:creationId xmlns:a16="http://schemas.microsoft.com/office/drawing/2014/main" id="{5A2C7234-0ACA-47E0-A794-58B31C989220}"/>
              </a:ext>
            </a:extLst>
          </p:cNvPr>
          <p:cNvSpPr/>
          <p:nvPr/>
        </p:nvSpPr>
        <p:spPr>
          <a:xfrm>
            <a:off x="6723750" y="2880059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5" name="Arrow: Chevron 24">
            <a:extLst>
              <a:ext uri="{FF2B5EF4-FFF2-40B4-BE49-F238E27FC236}">
                <a16:creationId xmlns:a16="http://schemas.microsoft.com/office/drawing/2014/main" id="{1C1A61BD-7C52-4162-9D43-0A0993DC5958}"/>
              </a:ext>
            </a:extLst>
          </p:cNvPr>
          <p:cNvSpPr/>
          <p:nvPr/>
        </p:nvSpPr>
        <p:spPr>
          <a:xfrm>
            <a:off x="7394311" y="2880058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Arrow: Chevron 25">
            <a:extLst>
              <a:ext uri="{FF2B5EF4-FFF2-40B4-BE49-F238E27FC236}">
                <a16:creationId xmlns:a16="http://schemas.microsoft.com/office/drawing/2014/main" id="{CD3D7907-39CD-4B31-B8CA-76E37B80E35F}"/>
              </a:ext>
            </a:extLst>
          </p:cNvPr>
          <p:cNvSpPr/>
          <p:nvPr/>
        </p:nvSpPr>
        <p:spPr>
          <a:xfrm>
            <a:off x="8009649" y="2880058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Arrow: Chevron 26">
            <a:extLst>
              <a:ext uri="{FF2B5EF4-FFF2-40B4-BE49-F238E27FC236}">
                <a16:creationId xmlns:a16="http://schemas.microsoft.com/office/drawing/2014/main" id="{FA6AB2C8-9C40-4FEA-A456-4606D552F72B}"/>
              </a:ext>
            </a:extLst>
          </p:cNvPr>
          <p:cNvSpPr/>
          <p:nvPr/>
        </p:nvSpPr>
        <p:spPr>
          <a:xfrm>
            <a:off x="8680210" y="2880057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65B7A763-7386-47C0-B972-B2A9F6179E55}"/>
              </a:ext>
            </a:extLst>
          </p:cNvPr>
          <p:cNvSpPr/>
          <p:nvPr/>
        </p:nvSpPr>
        <p:spPr>
          <a:xfrm>
            <a:off x="9199914" y="2880057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01A863EF-5DC7-4F62-B69B-85ED682800D0}"/>
              </a:ext>
            </a:extLst>
          </p:cNvPr>
          <p:cNvSpPr/>
          <p:nvPr/>
        </p:nvSpPr>
        <p:spPr>
          <a:xfrm>
            <a:off x="9870475" y="2880056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252EDB6A-5363-4DEF-A266-A81A5FB36499}"/>
              </a:ext>
            </a:extLst>
          </p:cNvPr>
          <p:cNvGrpSpPr/>
          <p:nvPr/>
        </p:nvGrpSpPr>
        <p:grpSpPr>
          <a:xfrm>
            <a:off x="4858028" y="3377182"/>
            <a:ext cx="5130719" cy="283966"/>
            <a:chOff x="4828171" y="2880575"/>
            <a:chExt cx="5130719" cy="283966"/>
          </a:xfrm>
        </p:grpSpPr>
        <p:sp>
          <p:nvSpPr>
            <p:cNvPr id="31" name="Arrow: Pentagon 30">
              <a:extLst>
                <a:ext uri="{FF2B5EF4-FFF2-40B4-BE49-F238E27FC236}">
                  <a16:creationId xmlns:a16="http://schemas.microsoft.com/office/drawing/2014/main" id="{AE3D904D-1AA8-415D-8E37-56622468330D}"/>
                </a:ext>
              </a:extLst>
            </p:cNvPr>
            <p:cNvSpPr/>
            <p:nvPr/>
          </p:nvSpPr>
          <p:spPr>
            <a:xfrm>
              <a:off x="9209220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Arrow: Pentagon 31">
              <a:extLst>
                <a:ext uri="{FF2B5EF4-FFF2-40B4-BE49-F238E27FC236}">
                  <a16:creationId xmlns:a16="http://schemas.microsoft.com/office/drawing/2014/main" id="{C91D582E-9DD2-4075-9889-249C2B85E139}"/>
                </a:ext>
              </a:extLst>
            </p:cNvPr>
            <p:cNvSpPr/>
            <p:nvPr/>
          </p:nvSpPr>
          <p:spPr>
            <a:xfrm>
              <a:off x="8569140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Arrow: Pentagon 32">
              <a:extLst>
                <a:ext uri="{FF2B5EF4-FFF2-40B4-BE49-F238E27FC236}">
                  <a16:creationId xmlns:a16="http://schemas.microsoft.com/office/drawing/2014/main" id="{8371B544-FFC4-4EA2-9985-BA58A94CDB48}"/>
                </a:ext>
              </a:extLst>
            </p:cNvPr>
            <p:cNvSpPr/>
            <p:nvPr/>
          </p:nvSpPr>
          <p:spPr>
            <a:xfrm>
              <a:off x="802857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Arrow: Pentagon 33">
              <a:extLst>
                <a:ext uri="{FF2B5EF4-FFF2-40B4-BE49-F238E27FC236}">
                  <a16:creationId xmlns:a16="http://schemas.microsoft.com/office/drawing/2014/main" id="{5720B614-A744-463A-A3EA-5C35BA68532D}"/>
                </a:ext>
              </a:extLst>
            </p:cNvPr>
            <p:cNvSpPr/>
            <p:nvPr/>
          </p:nvSpPr>
          <p:spPr>
            <a:xfrm>
              <a:off x="738849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Arrow: Pentagon 34">
              <a:extLst>
                <a:ext uri="{FF2B5EF4-FFF2-40B4-BE49-F238E27FC236}">
                  <a16:creationId xmlns:a16="http://schemas.microsoft.com/office/drawing/2014/main" id="{92F02D59-8950-4F92-A068-72B0FF1CE147}"/>
                </a:ext>
              </a:extLst>
            </p:cNvPr>
            <p:cNvSpPr/>
            <p:nvPr/>
          </p:nvSpPr>
          <p:spPr>
            <a:xfrm>
              <a:off x="674841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Arrow: Pentagon 35">
              <a:extLst>
                <a:ext uri="{FF2B5EF4-FFF2-40B4-BE49-F238E27FC236}">
                  <a16:creationId xmlns:a16="http://schemas.microsoft.com/office/drawing/2014/main" id="{45334B46-B419-4DEE-9595-2EE5625E8E6A}"/>
                </a:ext>
              </a:extLst>
            </p:cNvPr>
            <p:cNvSpPr/>
            <p:nvPr/>
          </p:nvSpPr>
          <p:spPr>
            <a:xfrm>
              <a:off x="610833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Arrow: Pentagon 36">
              <a:extLst>
                <a:ext uri="{FF2B5EF4-FFF2-40B4-BE49-F238E27FC236}">
                  <a16:creationId xmlns:a16="http://schemas.microsoft.com/office/drawing/2014/main" id="{ABE4E2CA-635F-449E-9C6A-23D99CE5C7E8}"/>
                </a:ext>
              </a:extLst>
            </p:cNvPr>
            <p:cNvSpPr/>
            <p:nvPr/>
          </p:nvSpPr>
          <p:spPr>
            <a:xfrm>
              <a:off x="546825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Arrow: Pentagon 37">
              <a:extLst>
                <a:ext uri="{FF2B5EF4-FFF2-40B4-BE49-F238E27FC236}">
                  <a16:creationId xmlns:a16="http://schemas.microsoft.com/office/drawing/2014/main" id="{F40EA667-7F73-4F65-BB6A-79EFC9A28E44}"/>
                </a:ext>
              </a:extLst>
            </p:cNvPr>
            <p:cNvSpPr/>
            <p:nvPr/>
          </p:nvSpPr>
          <p:spPr>
            <a:xfrm>
              <a:off x="4828171" y="2880575"/>
              <a:ext cx="749670" cy="283966"/>
            </a:xfrm>
            <a:prstGeom prst="homePlate">
              <a:avLst>
                <a:gd name="adj" fmla="val 37477"/>
              </a:avLst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9" name="Arrow: Chevron 38">
            <a:extLst>
              <a:ext uri="{FF2B5EF4-FFF2-40B4-BE49-F238E27FC236}">
                <a16:creationId xmlns:a16="http://schemas.microsoft.com/office/drawing/2014/main" id="{C768A7F8-1809-496B-AECE-5D42ECC661B2}"/>
              </a:ext>
            </a:extLst>
          </p:cNvPr>
          <p:cNvSpPr/>
          <p:nvPr/>
        </p:nvSpPr>
        <p:spPr>
          <a:xfrm>
            <a:off x="5476865" y="3374624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0" name="Arrow: Chevron 39">
            <a:extLst>
              <a:ext uri="{FF2B5EF4-FFF2-40B4-BE49-F238E27FC236}">
                <a16:creationId xmlns:a16="http://schemas.microsoft.com/office/drawing/2014/main" id="{A10C5C59-A320-466B-98D5-8DCFF4791E21}"/>
              </a:ext>
            </a:extLst>
          </p:cNvPr>
          <p:cNvSpPr/>
          <p:nvPr/>
        </p:nvSpPr>
        <p:spPr>
          <a:xfrm>
            <a:off x="6122026" y="3374623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1" name="Arrow: Chevron 40">
            <a:extLst>
              <a:ext uri="{FF2B5EF4-FFF2-40B4-BE49-F238E27FC236}">
                <a16:creationId xmlns:a16="http://schemas.microsoft.com/office/drawing/2014/main" id="{7EA4EA0E-AAC4-445C-99E5-2F0EFF908215}"/>
              </a:ext>
            </a:extLst>
          </p:cNvPr>
          <p:cNvSpPr/>
          <p:nvPr/>
        </p:nvSpPr>
        <p:spPr>
          <a:xfrm>
            <a:off x="6757025" y="3374623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2" name="Arrow: Chevron 41">
            <a:extLst>
              <a:ext uri="{FF2B5EF4-FFF2-40B4-BE49-F238E27FC236}">
                <a16:creationId xmlns:a16="http://schemas.microsoft.com/office/drawing/2014/main" id="{CF1DE81E-C91F-4943-8A9B-117062B758AE}"/>
              </a:ext>
            </a:extLst>
          </p:cNvPr>
          <p:cNvSpPr/>
          <p:nvPr/>
        </p:nvSpPr>
        <p:spPr>
          <a:xfrm>
            <a:off x="7407266" y="3374622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3" name="Arrow: Chevron 42">
            <a:extLst>
              <a:ext uri="{FF2B5EF4-FFF2-40B4-BE49-F238E27FC236}">
                <a16:creationId xmlns:a16="http://schemas.microsoft.com/office/drawing/2014/main" id="{94058E63-A733-4D1B-9A48-ECB3519CB9C7}"/>
              </a:ext>
            </a:extLst>
          </p:cNvPr>
          <p:cNvSpPr/>
          <p:nvPr/>
        </p:nvSpPr>
        <p:spPr>
          <a:xfrm>
            <a:off x="8042924" y="3374622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4" name="Arrow: Chevron 43">
            <a:extLst>
              <a:ext uri="{FF2B5EF4-FFF2-40B4-BE49-F238E27FC236}">
                <a16:creationId xmlns:a16="http://schemas.microsoft.com/office/drawing/2014/main" id="{92FA7B3E-1011-4099-B609-967154C98CF6}"/>
              </a:ext>
            </a:extLst>
          </p:cNvPr>
          <p:cNvSpPr/>
          <p:nvPr/>
        </p:nvSpPr>
        <p:spPr>
          <a:xfrm>
            <a:off x="8688085" y="3374621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5" name="Arrow: Chevron 44">
            <a:extLst>
              <a:ext uri="{FF2B5EF4-FFF2-40B4-BE49-F238E27FC236}">
                <a16:creationId xmlns:a16="http://schemas.microsoft.com/office/drawing/2014/main" id="{6F19D35F-4995-41BC-9C9E-6843D4B6866E}"/>
              </a:ext>
            </a:extLst>
          </p:cNvPr>
          <p:cNvSpPr/>
          <p:nvPr/>
        </p:nvSpPr>
        <p:spPr>
          <a:xfrm>
            <a:off x="9233189" y="3374621"/>
            <a:ext cx="131341" cy="284481"/>
          </a:xfrm>
          <a:prstGeom prst="chevron">
            <a:avLst>
              <a:gd name="adj" fmla="val 84810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E0F378BE-86C5-4021-8A64-EE759367D112}"/>
              </a:ext>
            </a:extLst>
          </p:cNvPr>
          <p:cNvSpPr/>
          <p:nvPr/>
        </p:nvSpPr>
        <p:spPr>
          <a:xfrm>
            <a:off x="4333911" y="3294148"/>
            <a:ext cx="432000" cy="432000"/>
          </a:xfrm>
          <a:prstGeom prst="ellipse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1D9BE11E-FE8C-4B89-9668-A54F98538CE9}"/>
              </a:ext>
            </a:extLst>
          </p:cNvPr>
          <p:cNvSpPr txBox="1"/>
          <p:nvPr/>
        </p:nvSpPr>
        <p:spPr>
          <a:xfrm>
            <a:off x="3192608" y="3104492"/>
            <a:ext cx="5332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1:1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0A58C219-49AD-4B3B-A83B-1E91936660B2}"/>
              </a:ext>
            </a:extLst>
          </p:cNvPr>
          <p:cNvPicPr>
            <a:picLocks/>
          </p:cNvPicPr>
          <p:nvPr/>
        </p:nvPicPr>
        <p:blipFill>
          <a:blip r:embed="rId6"/>
          <a:stretch>
            <a:fillRect/>
          </a:stretch>
        </p:blipFill>
        <p:spPr>
          <a:xfrm>
            <a:off x="3004481" y="2830424"/>
            <a:ext cx="891998" cy="886488"/>
          </a:xfrm>
          <a:prstGeom prst="rect">
            <a:avLst/>
          </a:prstGeom>
        </p:spPr>
      </p:pic>
      <p:grpSp>
        <p:nvGrpSpPr>
          <p:cNvPr id="49" name="Group 48">
            <a:extLst>
              <a:ext uri="{FF2B5EF4-FFF2-40B4-BE49-F238E27FC236}">
                <a16:creationId xmlns:a16="http://schemas.microsoft.com/office/drawing/2014/main" id="{511808A8-76B1-4F85-93C4-0524CC413C89}"/>
              </a:ext>
            </a:extLst>
          </p:cNvPr>
          <p:cNvGrpSpPr/>
          <p:nvPr/>
        </p:nvGrpSpPr>
        <p:grpSpPr>
          <a:xfrm>
            <a:off x="880475" y="2291850"/>
            <a:ext cx="1576070" cy="1967830"/>
            <a:chOff x="1264920" y="4343401"/>
            <a:chExt cx="2171700" cy="2384911"/>
          </a:xfrm>
        </p:grpSpPr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87227788-BD36-4A2E-84F7-8B7A518DAB87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0" t="30339" r="-2637" b="29284"/>
            <a:stretch/>
          </p:blipFill>
          <p:spPr>
            <a:xfrm>
              <a:off x="1264920" y="4343401"/>
              <a:ext cx="1501140" cy="632460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E0F423BE-21F6-46CC-89CF-CD5E6181B21F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1" t="30338" r="50674" b="32872"/>
            <a:stretch/>
          </p:blipFill>
          <p:spPr>
            <a:xfrm>
              <a:off x="2705350" y="4343401"/>
              <a:ext cx="731270" cy="576261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E10D814A-8749-487C-9520-9A7064E28EB6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0" t="30339" r="-2637" b="29284"/>
            <a:stretch/>
          </p:blipFill>
          <p:spPr>
            <a:xfrm>
              <a:off x="1264920" y="4919628"/>
              <a:ext cx="1501140" cy="632460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2D33EEF9-D93F-442F-A0B8-AA268A6ECE58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1" t="30338" r="50674" b="32872"/>
            <a:stretch/>
          </p:blipFill>
          <p:spPr>
            <a:xfrm>
              <a:off x="2705350" y="4919628"/>
              <a:ext cx="731270" cy="576261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C839B614-9574-4526-A2C5-BE135FAFB392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0" t="30339" r="-2637" b="29284"/>
            <a:stretch/>
          </p:blipFill>
          <p:spPr>
            <a:xfrm>
              <a:off x="1264920" y="5519625"/>
              <a:ext cx="1501140" cy="632460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E9956F80-2B34-4FC9-B4BA-2828C433A461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1" t="30338" r="50674" b="32872"/>
            <a:stretch/>
          </p:blipFill>
          <p:spPr>
            <a:xfrm>
              <a:off x="2705350" y="5519625"/>
              <a:ext cx="731270" cy="576261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3FFA08BA-05D2-44E5-9C8D-E42981F3FB00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0" t="30339" r="-2637" b="29284"/>
            <a:stretch/>
          </p:blipFill>
          <p:spPr>
            <a:xfrm>
              <a:off x="1264920" y="6095852"/>
              <a:ext cx="1501140" cy="632460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ED288C83-C31D-43CF-AAD6-9DD4666B8598}"/>
                </a:ext>
              </a:extLst>
            </p:cNvPr>
            <p:cNvPicPr>
              <a:picLocks/>
            </p:cNvPicPr>
            <p:nvPr/>
          </p:nvPicPr>
          <p:blipFill rotWithShape="1">
            <a:blip r:embed="rId7"/>
            <a:srcRect l="-1311" t="30338" r="50674" b="32872"/>
            <a:stretch/>
          </p:blipFill>
          <p:spPr>
            <a:xfrm>
              <a:off x="2705350" y="6095852"/>
              <a:ext cx="731270" cy="576261"/>
            </a:xfrm>
            <a:prstGeom prst="rect">
              <a:avLst/>
            </a:prstGeom>
          </p:spPr>
        </p:pic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7B752627-87BC-4520-9EBF-7F85813F0358}"/>
              </a:ext>
            </a:extLst>
          </p:cNvPr>
          <p:cNvSpPr/>
          <p:nvPr/>
        </p:nvSpPr>
        <p:spPr>
          <a:xfrm>
            <a:off x="846382" y="2258835"/>
            <a:ext cx="1704942" cy="2231571"/>
          </a:xfrm>
          <a:prstGeom prst="rect">
            <a:avLst/>
          </a:prstGeom>
          <a:gradFill flip="none" rotWithShape="1">
            <a:gsLst>
              <a:gs pos="96000">
                <a:schemeClr val="bg1">
                  <a:lumMod val="75000"/>
                  <a:alpha val="0"/>
                </a:schemeClr>
              </a:gs>
              <a:gs pos="47000">
                <a:schemeClr val="bg1">
                  <a:lumMod val="95000"/>
                  <a:alpha val="81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7291833-C940-4898-BA57-1AA45006C547}"/>
              </a:ext>
            </a:extLst>
          </p:cNvPr>
          <p:cNvSpPr/>
          <p:nvPr/>
        </p:nvSpPr>
        <p:spPr>
          <a:xfrm>
            <a:off x="978487" y="2595310"/>
            <a:ext cx="1448370" cy="1365807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12A1EAA2-7F97-421C-93E0-C8A0B68E31C0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1065168" y="2495610"/>
            <a:ext cx="1275007" cy="1529755"/>
          </a:xfrm>
          <a:prstGeom prst="rect">
            <a:avLst/>
          </a:prstGeom>
        </p:spPr>
      </p:pic>
      <p:grpSp>
        <p:nvGrpSpPr>
          <p:cNvPr id="61" name="Group 60">
            <a:extLst>
              <a:ext uri="{FF2B5EF4-FFF2-40B4-BE49-F238E27FC236}">
                <a16:creationId xmlns:a16="http://schemas.microsoft.com/office/drawing/2014/main" id="{974300C8-AB1F-4EEE-AB2E-A390928A49BD}"/>
              </a:ext>
            </a:extLst>
          </p:cNvPr>
          <p:cNvGrpSpPr/>
          <p:nvPr/>
        </p:nvGrpSpPr>
        <p:grpSpPr>
          <a:xfrm>
            <a:off x="4315030" y="2788296"/>
            <a:ext cx="469763" cy="432000"/>
            <a:chOff x="4330069" y="2072245"/>
            <a:chExt cx="432001" cy="432000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5F55AF94-7E20-45A9-A90C-79CD6BAA69AF}"/>
                </a:ext>
              </a:extLst>
            </p:cNvPr>
            <p:cNvSpPr/>
            <p:nvPr/>
          </p:nvSpPr>
          <p:spPr>
            <a:xfrm>
              <a:off x="4330069" y="2072245"/>
              <a:ext cx="432000" cy="432000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F85B3A2E-0777-4269-AB17-5D1E748EDD44}"/>
                </a:ext>
              </a:extLst>
            </p:cNvPr>
            <p:cNvPicPr>
              <a:picLocks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330069" y="2103579"/>
              <a:ext cx="432001" cy="369332"/>
            </a:xfrm>
            <a:prstGeom prst="rect">
              <a:avLst/>
            </a:prstGeom>
          </p:spPr>
        </p:pic>
      </p:grpSp>
      <p:pic>
        <p:nvPicPr>
          <p:cNvPr id="64" name="Picture 63">
            <a:extLst>
              <a:ext uri="{FF2B5EF4-FFF2-40B4-BE49-F238E27FC236}">
                <a16:creationId xmlns:a16="http://schemas.microsoft.com/office/drawing/2014/main" id="{95669944-CEE6-453C-BD1E-839B7F4935E3}"/>
              </a:ext>
            </a:extLst>
          </p:cNvPr>
          <p:cNvPicPr>
            <a:picLocks/>
          </p:cNvPicPr>
          <p:nvPr/>
        </p:nvPicPr>
        <p:blipFill>
          <a:blip r:embed="rId9"/>
          <a:stretch>
            <a:fillRect/>
          </a:stretch>
        </p:blipFill>
        <p:spPr>
          <a:xfrm>
            <a:off x="4321570" y="3325482"/>
            <a:ext cx="469763" cy="369332"/>
          </a:xfrm>
          <a:prstGeom prst="rect">
            <a:avLst/>
          </a:prstGeom>
        </p:spPr>
      </p:pic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11BBCA1A-7C39-4AF1-A0B6-A1D2ACDC402B}"/>
              </a:ext>
            </a:extLst>
          </p:cNvPr>
          <p:cNvCxnSpPr>
            <a:cxnSpLocks/>
            <a:endCxn id="62" idx="2"/>
          </p:cNvCxnSpPr>
          <p:nvPr/>
        </p:nvCxnSpPr>
        <p:spPr>
          <a:xfrm flipV="1">
            <a:off x="3926580" y="3004296"/>
            <a:ext cx="388450" cy="212909"/>
          </a:xfrm>
          <a:prstGeom prst="bentConnector3">
            <a:avLst>
              <a:gd name="adj1" fmla="val 8138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D153EF78-C3A7-4F5E-9D7C-24E539DB17DE}"/>
              </a:ext>
            </a:extLst>
          </p:cNvPr>
          <p:cNvCxnSpPr>
            <a:cxnSpLocks/>
            <a:endCxn id="64" idx="1"/>
          </p:cNvCxnSpPr>
          <p:nvPr/>
        </p:nvCxnSpPr>
        <p:spPr>
          <a:xfrm>
            <a:off x="3939919" y="3289158"/>
            <a:ext cx="381651" cy="220990"/>
          </a:xfrm>
          <a:prstGeom prst="bentConnector3">
            <a:avLst>
              <a:gd name="adj1" fmla="val 7695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66">
            <a:extLst>
              <a:ext uri="{FF2B5EF4-FFF2-40B4-BE49-F238E27FC236}">
                <a16:creationId xmlns:a16="http://schemas.microsoft.com/office/drawing/2014/main" id="{7538781D-2489-4371-B64D-7DB2CF232470}"/>
              </a:ext>
            </a:extLst>
          </p:cNvPr>
          <p:cNvPicPr>
            <a:picLocks/>
          </p:cNvPicPr>
          <p:nvPr/>
        </p:nvPicPr>
        <p:blipFill>
          <a:blip r:embed="rId10"/>
          <a:stretch>
            <a:fillRect/>
          </a:stretch>
        </p:blipFill>
        <p:spPr>
          <a:xfrm>
            <a:off x="10119883" y="2534251"/>
            <a:ext cx="873335" cy="859420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FAB07695-91DE-42D9-ACCC-1E8B8C7BEAA2}"/>
              </a:ext>
            </a:extLst>
          </p:cNvPr>
          <p:cNvPicPr>
            <a:picLocks/>
          </p:cNvPicPr>
          <p:nvPr/>
        </p:nvPicPr>
        <p:blipFill>
          <a:blip r:embed="rId11"/>
          <a:stretch>
            <a:fillRect/>
          </a:stretch>
        </p:blipFill>
        <p:spPr>
          <a:xfrm>
            <a:off x="10071409" y="2491678"/>
            <a:ext cx="959344" cy="944565"/>
          </a:xfrm>
          <a:prstGeom prst="rect">
            <a:avLst/>
          </a:prstGeom>
        </p:spPr>
      </p:pic>
      <p:sp>
        <p:nvSpPr>
          <p:cNvPr id="69" name="TextBox 68">
            <a:extLst>
              <a:ext uri="{FF2B5EF4-FFF2-40B4-BE49-F238E27FC236}">
                <a16:creationId xmlns:a16="http://schemas.microsoft.com/office/drawing/2014/main" id="{EAFB8CBB-A106-4896-8E36-6A47804E88BD}"/>
              </a:ext>
            </a:extLst>
          </p:cNvPr>
          <p:cNvSpPr txBox="1"/>
          <p:nvPr/>
        </p:nvSpPr>
        <p:spPr>
          <a:xfrm>
            <a:off x="10191769" y="2779294"/>
            <a:ext cx="7411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TOP</a:t>
            </a:r>
            <a:endParaRPr lang="ru-RU" dirty="0">
              <a:solidFill>
                <a:schemeClr val="bg1"/>
              </a:solidFill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712A3FC0-0FE9-437D-B6C7-4F6F0C66AE90}"/>
              </a:ext>
            </a:extLst>
          </p:cNvPr>
          <p:cNvCxnSpPr>
            <a:cxnSpLocks/>
          </p:cNvCxnSpPr>
          <p:nvPr/>
        </p:nvCxnSpPr>
        <p:spPr>
          <a:xfrm flipV="1">
            <a:off x="10551081" y="3393671"/>
            <a:ext cx="10081" cy="553489"/>
          </a:xfrm>
          <a:prstGeom prst="line">
            <a:avLst/>
          </a:prstGeom>
          <a:ln w="825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Rectangle 70">
            <a:extLst>
              <a:ext uri="{FF2B5EF4-FFF2-40B4-BE49-F238E27FC236}">
                <a16:creationId xmlns:a16="http://schemas.microsoft.com/office/drawing/2014/main" id="{B89A3AEA-42C2-4D11-979C-767B069C1219}"/>
              </a:ext>
            </a:extLst>
          </p:cNvPr>
          <p:cNvSpPr/>
          <p:nvPr/>
        </p:nvSpPr>
        <p:spPr>
          <a:xfrm>
            <a:off x="10070371" y="3489362"/>
            <a:ext cx="1143142" cy="38830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5,3 года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4E61B1AF-4078-4E76-99FA-A88027F5BD08}"/>
              </a:ext>
            </a:extLst>
          </p:cNvPr>
          <p:cNvSpPr txBox="1"/>
          <p:nvPr/>
        </p:nvSpPr>
        <p:spPr>
          <a:xfrm>
            <a:off x="645294" y="1836462"/>
            <a:ext cx="2075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скрининг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5B1008A0-9C1F-429F-ADD0-54C46FAD6E29}"/>
              </a:ext>
            </a:extLst>
          </p:cNvPr>
          <p:cNvSpPr txBox="1"/>
          <p:nvPr/>
        </p:nvSpPr>
        <p:spPr>
          <a:xfrm>
            <a:off x="2416883" y="3757439"/>
            <a:ext cx="20754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4472C4"/>
                </a:solidFill>
              </a:rPr>
              <a:t>рандомизация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003D94D7-1BB9-45CD-BE0B-11940145E48F}"/>
              </a:ext>
            </a:extLst>
          </p:cNvPr>
          <p:cNvSpPr txBox="1"/>
          <p:nvPr/>
        </p:nvSpPr>
        <p:spPr>
          <a:xfrm>
            <a:off x="2769291" y="2415867"/>
            <a:ext cx="13705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N</a:t>
            </a:r>
            <a:r>
              <a:rPr lang="ru-RU" dirty="0"/>
              <a:t> </a:t>
            </a:r>
            <a:r>
              <a:rPr lang="en-US" dirty="0"/>
              <a:t>=</a:t>
            </a:r>
            <a:r>
              <a:rPr lang="ru-RU" dirty="0"/>
              <a:t>25,871 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2E3422BF-094A-4AC7-AA6E-3AF0AA29CDE2}"/>
              </a:ext>
            </a:extLst>
          </p:cNvPr>
          <p:cNvSpPr/>
          <p:nvPr/>
        </p:nvSpPr>
        <p:spPr>
          <a:xfrm>
            <a:off x="521273" y="4496375"/>
            <a:ext cx="381263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ациенты без онкологических или СС заболеваний старше 50 лет м, и 55 лет ж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AA9F887-3A08-441B-84CF-6FD516898010}"/>
              </a:ext>
            </a:extLst>
          </p:cNvPr>
          <p:cNvSpPr/>
          <p:nvPr/>
        </p:nvSpPr>
        <p:spPr>
          <a:xfrm>
            <a:off x="9773441" y="4074810"/>
            <a:ext cx="19136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Медиана наблюдения</a:t>
            </a:r>
          </a:p>
        </p:txBody>
      </p:sp>
    </p:spTree>
    <p:extLst>
      <p:ext uri="{BB962C8B-B14F-4D97-AF65-F5344CB8AC3E}">
        <p14:creationId xmlns:p14="http://schemas.microsoft.com/office/powerpoint/2010/main" val="138333434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B323C6A-8C1B-4F54-A4C0-01B597199D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6160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0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B323C6A-8C1B-4F54-A4C0-01B597199D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20A1334-1CCA-425E-B06F-B11E84A3F9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VITAL</a:t>
            </a:r>
            <a:endParaRPr lang="ru-RU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37C101E-A31A-4293-A45C-7184FE1B111B}"/>
              </a:ext>
            </a:extLst>
          </p:cNvPr>
          <p:cNvSpPr/>
          <p:nvPr/>
        </p:nvSpPr>
        <p:spPr>
          <a:xfrm>
            <a:off x="201000" y="6361641"/>
            <a:ext cx="6096000" cy="43088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100" dirty="0"/>
              <a:t>1.Christen, W. </a:t>
            </a:r>
            <a:r>
              <a:rPr lang="en-US" sz="1100" i="1" dirty="0"/>
              <a:t>et al.</a:t>
            </a:r>
            <a:r>
              <a:rPr lang="en-US" sz="1100" dirty="0"/>
              <a:t> Vitamin D Supplements and Prevention of Cancer and Cardiovascular Disease. (2018). doi:10.1056/NEJMoa1809944</a:t>
            </a:r>
            <a:endParaRPr lang="ru-RU" sz="11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37F7B3A-AFE1-4AD7-9D93-2F51D62D163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76000" y="2066925"/>
            <a:ext cx="5057775" cy="290512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36E9AC1-ED77-4C80-AED7-559D35B24D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7000" y="2066925"/>
            <a:ext cx="5267325" cy="291465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130E95A-EBD0-4475-900D-2E0E848EEA88}"/>
              </a:ext>
            </a:extLst>
          </p:cNvPr>
          <p:cNvSpPr/>
          <p:nvPr/>
        </p:nvSpPr>
        <p:spPr>
          <a:xfrm>
            <a:off x="6816000" y="1280318"/>
            <a:ext cx="448712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Большие сердечно-сосудистые события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38C2E1C-3C2F-4646-B4CB-341DBADFBA18}"/>
              </a:ext>
            </a:extLst>
          </p:cNvPr>
          <p:cNvSpPr/>
          <p:nvPr/>
        </p:nvSpPr>
        <p:spPr>
          <a:xfrm>
            <a:off x="2676000" y="1248582"/>
            <a:ext cx="17556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Рак (все виды)</a:t>
            </a:r>
          </a:p>
        </p:txBody>
      </p:sp>
    </p:spTree>
    <p:extLst>
      <p:ext uri="{BB962C8B-B14F-4D97-AF65-F5344CB8AC3E}">
        <p14:creationId xmlns:p14="http://schemas.microsoft.com/office/powerpoint/2010/main" val="92982667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6CF7A3E-43B0-4244-BC63-2FB1BDA25B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096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4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6CF7A3E-43B0-4244-BC63-2FB1BDA25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93A8F1-F73D-4076-B5AC-18E111EABA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VITAL</a:t>
            </a:r>
            <a:endParaRPr lang="ru-RU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96FDB73-62EA-4F06-A6B1-70BD2EC82A2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1001" y="0"/>
            <a:ext cx="8391000" cy="6867314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81DF19E4-1FCC-43B2-AFC7-ED54A7B05F06}"/>
              </a:ext>
            </a:extLst>
          </p:cNvPr>
          <p:cNvSpPr txBox="1">
            <a:spLocks/>
          </p:cNvSpPr>
          <p:nvPr/>
        </p:nvSpPr>
        <p:spPr>
          <a:xfrm>
            <a:off x="607201" y="1269000"/>
            <a:ext cx="9989289" cy="7755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272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39" kern="1200" cap="all" baseline="0">
                <a:solidFill>
                  <a:srgbClr val="005DA4"/>
                </a:solidFill>
                <a:latin typeface="DINPro-Medium" panose="02000503030000020004" pitchFamily="50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ED7527-C4E1-467A-ADA1-EB2B4059AFDB}"/>
              </a:ext>
            </a:extLst>
          </p:cNvPr>
          <p:cNvSpPr/>
          <p:nvPr/>
        </p:nvSpPr>
        <p:spPr>
          <a:xfrm>
            <a:off x="19657" y="6192364"/>
            <a:ext cx="360000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1.Christen, W. </a:t>
            </a:r>
            <a:r>
              <a:rPr lang="en-US" sz="1100" i="1" dirty="0"/>
              <a:t>et al.</a:t>
            </a:r>
            <a:r>
              <a:rPr lang="en-US" sz="1100" dirty="0"/>
              <a:t> Vitamin D Supplements and Prevention of Cancer and Cardiovascular Disease. (2018). doi:10.1056/NEJMoa1809944</a:t>
            </a:r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37613136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6CF7A3E-43B0-4244-BC63-2FB1BDA25B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8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6CF7A3E-43B0-4244-BC63-2FB1BDA25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93A8F1-F73D-4076-B5AC-18E111EABA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VITAL</a:t>
            </a:r>
            <a:endParaRPr lang="ru-R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1DF19E4-1FCC-43B2-AFC7-ED54A7B05F06}"/>
              </a:ext>
            </a:extLst>
          </p:cNvPr>
          <p:cNvSpPr txBox="1">
            <a:spLocks/>
          </p:cNvSpPr>
          <p:nvPr/>
        </p:nvSpPr>
        <p:spPr>
          <a:xfrm>
            <a:off x="607201" y="1269000"/>
            <a:ext cx="9989289" cy="7755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272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39" kern="1200" cap="all" baseline="0">
                <a:solidFill>
                  <a:srgbClr val="005DA4"/>
                </a:solidFill>
                <a:latin typeface="DINPro-Medium" panose="02000503030000020004" pitchFamily="50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ED7527-C4E1-467A-ADA1-EB2B4059AFDB}"/>
              </a:ext>
            </a:extLst>
          </p:cNvPr>
          <p:cNvSpPr/>
          <p:nvPr/>
        </p:nvSpPr>
        <p:spPr>
          <a:xfrm>
            <a:off x="19657" y="6192364"/>
            <a:ext cx="360000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1.Christen, W. </a:t>
            </a:r>
            <a:r>
              <a:rPr lang="en-US" sz="1100" i="1" dirty="0"/>
              <a:t>et al.</a:t>
            </a:r>
            <a:r>
              <a:rPr lang="en-US" sz="1100" dirty="0"/>
              <a:t> Vitamin D Supplements and Prevention of Cancer and Cardiovascular Disease. (2018). doi:10.1056/NEJMoa1809944</a:t>
            </a:r>
            <a:endParaRPr lang="ru-RU" sz="11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93E8F71-1D34-4D1C-A8AF-D8259E362E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341001" y="0"/>
            <a:ext cx="7851000" cy="6841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957019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6CF7A3E-43B0-4244-BC63-2FB1BDA25B9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2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6CF7A3E-43B0-4244-BC63-2FB1BDA25B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93A8F1-F73D-4076-B5AC-18E111EABA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VITAL</a:t>
            </a:r>
            <a:endParaRPr lang="ru-RU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1DF19E4-1FCC-43B2-AFC7-ED54A7B05F06}"/>
              </a:ext>
            </a:extLst>
          </p:cNvPr>
          <p:cNvSpPr txBox="1">
            <a:spLocks/>
          </p:cNvSpPr>
          <p:nvPr/>
        </p:nvSpPr>
        <p:spPr>
          <a:xfrm>
            <a:off x="607201" y="1269000"/>
            <a:ext cx="9989289" cy="77550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72727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39" kern="1200" cap="all" baseline="0">
                <a:solidFill>
                  <a:srgbClr val="005DA4"/>
                </a:solidFill>
                <a:latin typeface="DINPro-Medium" panose="02000503030000020004" pitchFamily="50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BED7527-C4E1-467A-ADA1-EB2B4059AFDB}"/>
              </a:ext>
            </a:extLst>
          </p:cNvPr>
          <p:cNvSpPr/>
          <p:nvPr/>
        </p:nvSpPr>
        <p:spPr>
          <a:xfrm>
            <a:off x="19657" y="6192364"/>
            <a:ext cx="3600001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/>
              <a:t>1.Christen, W. </a:t>
            </a:r>
            <a:r>
              <a:rPr lang="en-US" sz="1100" i="1" dirty="0"/>
              <a:t>et al.</a:t>
            </a:r>
            <a:r>
              <a:rPr lang="en-US" sz="1100" dirty="0"/>
              <a:t> Vitamin D Supplements and Prevention of Cancer and Cardiovascular Disease. (2018). doi:10.1056/NEJMoa1809944</a:t>
            </a:r>
            <a:endParaRPr lang="ru-RU" sz="11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59B79BF-20DB-4DF4-855B-095EEFE87EE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21000" y="-9314"/>
            <a:ext cx="7671000" cy="6878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43858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91EC571-43DE-48C1-B8FA-95CAADAC7B1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5214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6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91EC571-43DE-48C1-B8FA-95CAADAC7B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8F79BDC-4862-4189-97E4-2C0545194B49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en-US" dirty="0"/>
              <a:t>Q&amp;A</a:t>
            </a:r>
            <a:endParaRPr lang="ru-RU" dirty="0"/>
          </a:p>
        </p:txBody>
      </p:sp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3" name="Add-in 2" title="Mentimeter">
                <a:extLst>
                  <a:ext uri="{FF2B5EF4-FFF2-40B4-BE49-F238E27FC236}">
                    <a16:creationId xmlns:a16="http://schemas.microsoft.com/office/drawing/2014/main" id="{FE93A6FE-2D04-423A-BAE3-7251B08EFDD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428356443"/>
                  </p:ext>
                </p:extLst>
              </p:nvPr>
            </p:nvGraphicFramePr>
            <p:xfrm>
              <a:off x="1146000" y="0"/>
              <a:ext cx="11046000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3" name="Add-in 2" title="Mentimeter">
                <a:extLst>
                  <a:ext uri="{FF2B5EF4-FFF2-40B4-BE49-F238E27FC236}">
                    <a16:creationId xmlns:a16="http://schemas.microsoft.com/office/drawing/2014/main" id="{FE93A6FE-2D04-423A-BAE3-7251B08EFDD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46000" y="0"/>
                <a:ext cx="11046000" cy="685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41072214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6EDA29C-D020-4DEB-B356-5D47E6DA67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2379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0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6EDA29C-D020-4DEB-B356-5D47E6DA67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5" name="Content Placeholder 4" title="Mentimeter">
                <a:extLst>
                  <a:ext uri="{FF2B5EF4-FFF2-40B4-BE49-F238E27FC236}">
                    <a16:creationId xmlns:a16="http://schemas.microsoft.com/office/drawing/2014/main" id="{5E0E7C68-BBFE-4CC8-B24D-1BCC43ED92ED}"/>
                  </a:ext>
                </a:extLst>
              </p:cNvPr>
              <p:cNvGraphicFramePr>
                <a:graphicFrameLocks noGrp="1"/>
              </p:cNvGraphicFramePr>
              <p:nvPr>
                <p:ph idx="14"/>
                <p:extLst>
                  <p:ext uri="{D42A27DB-BD31-4B8C-83A1-F6EECF244321}">
                    <p14:modId xmlns:p14="http://schemas.microsoft.com/office/powerpoint/2010/main" val="3897851274"/>
                  </p:ext>
                </p:extLst>
              </p:nvPr>
            </p:nvGraphicFramePr>
            <p:xfrm>
              <a:off x="1146001" y="0"/>
              <a:ext cx="11046000" cy="685800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6"/>
              </a:graphicData>
            </a:graphic>
          </p:graphicFrame>
        </mc:Choice>
        <mc:Fallback xmlns="">
          <p:pic>
            <p:nvPicPr>
              <p:cNvPr id="5" name="Content Placeholder 4" title="Mentimeter">
                <a:extLst>
                  <a:ext uri="{FF2B5EF4-FFF2-40B4-BE49-F238E27FC236}">
                    <a16:creationId xmlns:a16="http://schemas.microsoft.com/office/drawing/2014/main" id="{5E0E7C68-BBFE-4CC8-B24D-1BCC43ED92ED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1146001" y="0"/>
                <a:ext cx="11046000" cy="685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363569655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DE003EE-E836-42A1-9E60-F321B0F818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6476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4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DE003EE-E836-42A1-9E60-F321B0F81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540EA97-4CF0-4226-9767-3095FCD7FB7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985" b="1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5985" b="1" dirty="0">
                <a:solidFill>
                  <a:srgbClr val="002060"/>
                </a:solidFill>
              </a:rPr>
              <a:t>EMPA-REG Outcome</a:t>
            </a:r>
            <a:br>
              <a:rPr lang="en-US" sz="5985" b="1" dirty="0">
                <a:solidFill>
                  <a:srgbClr val="002060"/>
                </a:solidFill>
              </a:rPr>
            </a:br>
            <a:r>
              <a:rPr lang="en-US" sz="5985" b="1" dirty="0">
                <a:solidFill>
                  <a:srgbClr val="002060"/>
                </a:solidFill>
              </a:rPr>
              <a:t>vs </a:t>
            </a:r>
            <a:br>
              <a:rPr lang="en-US" sz="5985" b="1" dirty="0">
                <a:solidFill>
                  <a:srgbClr val="002060"/>
                </a:solidFill>
              </a:rPr>
            </a:br>
            <a:endParaRPr lang="ru-RU" sz="5985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9260-4640-46FA-9BEC-1CA762B2F5B1}" type="slidenum">
              <a:rPr lang="ru-RU" smtClean="0"/>
              <a:t>5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71122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65593A0-7B9E-41CD-8C39-B260645020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9197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9" imgW="362" imgH="362" progId="TCLayout.ActiveDocument.1">
                  <p:embed/>
                </p:oleObj>
              </mc:Choice>
              <mc:Fallback>
                <p:oleObj name="think-cell Slide" r:id="rId9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65593A0-7B9E-41CD-8C39-B26064502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2AF77FD-BE2B-4954-A24B-13B22C5BF04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400" dirty="0">
              <a:latin typeface="DINPro-Medium" panose="02000503030000020004" pitchFamily="50" charset="0"/>
              <a:sym typeface="DINPro-Medium" panose="02000503030000020004" pitchFamily="50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5A40949-6845-4528-AD16-EE1EAA09DA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D41F3AC-7470-4E94-B5DA-8DD179C9E32C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3343274" y="2173288"/>
            <a:ext cx="5505450" cy="83502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wrap="square" lIns="122238" tIns="112713" rIns="0" bIns="112713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chemeClr val="bg1"/>
                </a:solidFill>
              </a:rPr>
              <a:t>ACC_AHA новые рекомендации по лечению гиперхолестеринемии 2018</a:t>
            </a:r>
          </a:p>
        </p:txBody>
      </p:sp>
      <p:sp>
        <p:nvSpPr>
          <p:cNvPr id="22" name="Text Placeholder 2">
            <a:hlinkClick r:id="rId11" action="ppaction://hlinksldjump"/>
            <a:extLst>
              <a:ext uri="{FF2B5EF4-FFF2-40B4-BE49-F238E27FC236}">
                <a16:creationId xmlns:a16="http://schemas.microsoft.com/office/drawing/2014/main" id="{2316BE81-B731-4EBE-BD4C-94219ED23BA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343275" y="3008313"/>
            <a:ext cx="5505450" cy="573088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none" lIns="122238" tIns="122238" rIns="0" bIns="122238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altLang="en-US" sz="2400" dirty="0"/>
              <a:t>DECLARE –TIMI 58</a:t>
            </a:r>
            <a:endParaRPr lang="ru-RU" sz="2400" dirty="0"/>
          </a:p>
        </p:txBody>
      </p:sp>
      <p:sp>
        <p:nvSpPr>
          <p:cNvPr id="7" name="Text Placeholder 2">
            <a:hlinkClick r:id="rId12" action="ppaction://hlinksldjump"/>
            <a:extLst>
              <a:ext uri="{FF2B5EF4-FFF2-40B4-BE49-F238E27FC236}">
                <a16:creationId xmlns:a16="http://schemas.microsoft.com/office/drawing/2014/main" id="{26C7850C-F8FC-42CF-A6D3-374C0B3E42A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343274" y="3581400"/>
            <a:ext cx="5505450" cy="573088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none" lIns="122238" tIns="122238" rIns="0" bIns="122238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 sz="2400"/>
              <a:t>REDUCE-IT</a:t>
            </a:r>
            <a:endParaRPr lang="ru-RU" dirty="0"/>
          </a:p>
        </p:txBody>
      </p:sp>
      <p:sp>
        <p:nvSpPr>
          <p:cNvPr id="9" name="Text Placeholder 2">
            <a:hlinkClick r:id="rId13" action="ppaction://hlinksldjump"/>
            <a:extLst>
              <a:ext uri="{FF2B5EF4-FFF2-40B4-BE49-F238E27FC236}">
                <a16:creationId xmlns:a16="http://schemas.microsoft.com/office/drawing/2014/main" id="{E1E40E04-B72D-41F2-BDD3-CC24DA42056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343274" y="4154488"/>
            <a:ext cx="5505450" cy="530225"/>
          </a:xfrm>
          <a:prstGeom prst="rect">
            <a:avLst/>
          </a:prstGeom>
          <a:solidFill>
            <a:schemeClr val="bg2"/>
          </a:solidFill>
          <a:ln w="38100">
            <a:solidFill>
              <a:schemeClr val="bg1"/>
            </a:solidFill>
          </a:ln>
        </p:spPr>
        <p:txBody>
          <a:bodyPr vert="horz" wrap="none" lIns="122238" tIns="112713" rIns="0" bIns="112713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DINPro-Medium" panose="02000503030000020004" pitchFamily="50" charset="0"/>
                <a:ea typeface="+mn-ea"/>
                <a:cs typeface="+mn-cs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GB"/>
              <a:t>VITAL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561739842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12BBB91-B90B-42FD-ADC6-0833CCF4B0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8293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8" name="think-cell Slide" r:id="rId6" imgW="362" imgH="362" progId="TCLayout.ActiveDocument.1">
                  <p:embed/>
                </p:oleObj>
              </mc:Choice>
              <mc:Fallback>
                <p:oleObj name="think-cell Slide" r:id="rId6" imgW="362" imgH="36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12BBB91-B90B-42FD-ADC6-0833CCF4B0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7B4120-F3C0-4681-8445-87A23D98B24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39" b="1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050665" y="1208846"/>
            <a:ext cx="2754630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1">
              <a:tabLst>
                <a:tab pos="455303" algn="l"/>
                <a:tab pos="2741347" algn="l"/>
                <a:tab pos="2968682" algn="l"/>
                <a:tab pos="3640524" algn="l"/>
                <a:tab pos="5697328" algn="l"/>
              </a:tabLst>
            </a:pPr>
            <a:r>
              <a:rPr lang="ru-RU" sz="1600" u="sng" spc="-5" dirty="0">
                <a:solidFill>
                  <a:srgbClr val="001864"/>
                </a:solidFill>
                <a:cs typeface="Verdana"/>
              </a:rPr>
              <a:t>Сердечно-сосудистая смерть</a:t>
            </a:r>
            <a:endParaRPr sz="1600" u="sng" spc="-5" dirty="0">
              <a:solidFill>
                <a:srgbClr val="001864"/>
              </a:solidFill>
              <a:cs typeface="Verdana"/>
            </a:endParaRPr>
          </a:p>
        </p:txBody>
      </p:sp>
      <p:sp>
        <p:nvSpPr>
          <p:cNvPr id="74" name="Title 7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002060"/>
                </a:solidFill>
              </a:rPr>
              <a:t>EMPA-REG Outcome </a:t>
            </a:r>
            <a:r>
              <a:rPr lang="ru-RU" b="1" dirty="0">
                <a:solidFill>
                  <a:srgbClr val="002060"/>
                </a:solidFill>
              </a:rPr>
              <a:t>          </a:t>
            </a:r>
            <a:r>
              <a:rPr lang="en-US" b="1" dirty="0">
                <a:solidFill>
                  <a:srgbClr val="002060"/>
                </a:solidFill>
              </a:rPr>
              <a:t>vs 		</a:t>
            </a:r>
            <a:endParaRPr lang="ru-RU" dirty="0">
              <a:latin typeface="+mn-lt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675966" y="937359"/>
            <a:ext cx="36378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1" marR="5080"/>
            <a:r>
              <a:rPr lang="ru-RU" b="1" u="sng" dirty="0">
                <a:solidFill>
                  <a:srgbClr val="001864"/>
                </a:solidFill>
                <a:cs typeface="Verdana"/>
              </a:rPr>
              <a:t>Макрососудистые осложнения</a:t>
            </a:r>
            <a:endParaRPr lang="ru-RU" u="sng" dirty="0">
              <a:cs typeface="Verdana"/>
            </a:endParaRPr>
          </a:p>
        </p:txBody>
      </p:sp>
      <p:graphicFrame>
        <p:nvGraphicFramePr>
          <p:cNvPr id="90" name="Chart 8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33049884"/>
              </p:ext>
            </p:extLst>
          </p:nvPr>
        </p:nvGraphicFramePr>
        <p:xfrm>
          <a:off x="1524001" y="1578177"/>
          <a:ext cx="4444409" cy="43973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2" name="Slide Number Placeholder 6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9260-4640-46FA-9BEC-1CA762B2F5B1}" type="slidenum">
              <a:rPr lang="ru-RU" smtClean="0"/>
              <a:t>6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354282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E820D2-BCF5-45AA-AC5B-8A6CD729C3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452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" name="think-cell Slide" r:id="rId6" imgW="362" imgH="362" progId="TCLayout.ActiveDocument.1">
                  <p:embed/>
                </p:oleObj>
              </mc:Choice>
              <mc:Fallback>
                <p:oleObj name="think-cell Slide" r:id="rId6" imgW="362" imgH="36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E820D2-BCF5-45AA-AC5B-8A6CD729C3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ACCCA1E-4BA7-4E2C-A96F-C33D60B8B6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39" b="1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1852372" y="6543308"/>
            <a:ext cx="473130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1" marR="5080"/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So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u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r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ce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:</a:t>
            </a:r>
            <a:r>
              <a:rPr sz="600" spc="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So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u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r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ce: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M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a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r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so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S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P,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 D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an</a:t>
            </a:r>
            <a:r>
              <a:rPr sz="600" spc="10" dirty="0">
                <a:solidFill>
                  <a:srgbClr val="001864"/>
                </a:solidFill>
                <a:latin typeface="+mj-lt"/>
                <a:cs typeface="Verdana"/>
              </a:rPr>
              <a:t>i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e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l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s</a:t>
            </a:r>
            <a:r>
              <a:rPr sz="600" spc="-3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GH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,</a:t>
            </a:r>
            <a:r>
              <a:rPr sz="600" spc="-2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Bro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w</a:t>
            </a:r>
            <a:r>
              <a:rPr sz="600" spc="10" dirty="0">
                <a:solidFill>
                  <a:srgbClr val="001864"/>
                </a:solidFill>
                <a:latin typeface="+mj-lt"/>
                <a:cs typeface="Verdana"/>
              </a:rPr>
              <a:t>n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-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F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r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andsen</a:t>
            </a:r>
            <a:r>
              <a:rPr sz="600" spc="-1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K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,</a:t>
            </a:r>
            <a:r>
              <a:rPr sz="600" i="1" spc="-1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e</a:t>
            </a:r>
            <a:r>
              <a:rPr sz="600" i="1" dirty="0">
                <a:solidFill>
                  <a:srgbClr val="001864"/>
                </a:solidFill>
                <a:latin typeface="+mj-lt"/>
                <a:cs typeface="Verdana"/>
              </a:rPr>
              <a:t>t</a:t>
            </a:r>
            <a:r>
              <a:rPr sz="600" i="1" spc="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i="1" dirty="0">
                <a:solidFill>
                  <a:srgbClr val="001864"/>
                </a:solidFill>
                <a:latin typeface="+mj-lt"/>
                <a:cs typeface="Verdana"/>
              </a:rPr>
              <a:t>al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.</a:t>
            </a:r>
            <a:r>
              <a:rPr sz="600" i="1" spc="-1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L</a:t>
            </a:r>
            <a:r>
              <a:rPr sz="600" spc="10" dirty="0">
                <a:solidFill>
                  <a:srgbClr val="001864"/>
                </a:solidFill>
                <a:latin typeface="+mj-lt"/>
                <a:cs typeface="Verdana"/>
              </a:rPr>
              <a:t>i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r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a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g</a:t>
            </a:r>
            <a:r>
              <a:rPr sz="600" spc="10" dirty="0">
                <a:solidFill>
                  <a:srgbClr val="001864"/>
                </a:solidFill>
                <a:latin typeface="+mj-lt"/>
                <a:cs typeface="Verdana"/>
              </a:rPr>
              <a:t>l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u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t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i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de</a:t>
            </a:r>
            <a:r>
              <a:rPr sz="600" spc="-3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an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d 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ca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r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d</a:t>
            </a:r>
            <a:r>
              <a:rPr sz="600" spc="10" dirty="0">
                <a:solidFill>
                  <a:srgbClr val="001864"/>
                </a:solidFill>
                <a:latin typeface="+mj-lt"/>
                <a:cs typeface="Verdana"/>
              </a:rPr>
              <a:t>i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o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vas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c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u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l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ar</a:t>
            </a:r>
            <a:r>
              <a:rPr sz="600" spc="-4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o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u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t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c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o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mes </a:t>
            </a:r>
            <a:r>
              <a:rPr sz="600" spc="10" dirty="0">
                <a:solidFill>
                  <a:srgbClr val="001864"/>
                </a:solidFill>
                <a:latin typeface="+mj-lt"/>
                <a:cs typeface="Verdana"/>
              </a:rPr>
              <a:t>i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n</a:t>
            </a:r>
            <a:r>
              <a:rPr sz="600" spc="-3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t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ype</a:t>
            </a:r>
            <a:r>
              <a:rPr sz="600" spc="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2</a:t>
            </a:r>
            <a:r>
              <a:rPr sz="600" spc="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d</a:t>
            </a:r>
            <a:r>
              <a:rPr sz="600" spc="10" dirty="0">
                <a:solidFill>
                  <a:srgbClr val="001864"/>
                </a:solidFill>
                <a:latin typeface="+mj-lt"/>
                <a:cs typeface="Verdana"/>
              </a:rPr>
              <a:t>i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a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b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e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t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es. </a:t>
            </a:r>
            <a:r>
              <a:rPr sz="600" i="1" dirty="0">
                <a:solidFill>
                  <a:srgbClr val="001864"/>
                </a:solidFill>
                <a:latin typeface="+mj-lt"/>
                <a:cs typeface="Verdana"/>
              </a:rPr>
              <a:t>T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he</a:t>
            </a:r>
            <a:r>
              <a:rPr sz="600" i="1" spc="-1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Ne</a:t>
            </a:r>
            <a:r>
              <a:rPr sz="600" i="1" dirty="0">
                <a:solidFill>
                  <a:srgbClr val="001864"/>
                </a:solidFill>
                <a:latin typeface="+mj-lt"/>
                <a:cs typeface="Verdana"/>
              </a:rPr>
              <a:t>w</a:t>
            </a:r>
            <a:r>
              <a:rPr sz="600" i="1" spc="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i="1" dirty="0">
                <a:solidFill>
                  <a:srgbClr val="001864"/>
                </a:solidFill>
                <a:latin typeface="+mj-lt"/>
                <a:cs typeface="Verdana"/>
              </a:rPr>
              <a:t>E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nglan</a:t>
            </a:r>
            <a:r>
              <a:rPr sz="600" i="1" dirty="0">
                <a:solidFill>
                  <a:srgbClr val="001864"/>
                </a:solidFill>
                <a:latin typeface="+mj-lt"/>
                <a:cs typeface="Verdana"/>
              </a:rPr>
              <a:t>d</a:t>
            </a:r>
            <a:r>
              <a:rPr sz="600" i="1" spc="-2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j</a:t>
            </a:r>
            <a:r>
              <a:rPr sz="600" i="1" spc="-10" dirty="0">
                <a:solidFill>
                  <a:srgbClr val="001864"/>
                </a:solidFill>
                <a:latin typeface="+mj-lt"/>
                <a:cs typeface="Verdana"/>
              </a:rPr>
              <a:t>o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u</a:t>
            </a:r>
            <a:r>
              <a:rPr sz="600" i="1" spc="-10" dirty="0">
                <a:solidFill>
                  <a:srgbClr val="001864"/>
                </a:solidFill>
                <a:latin typeface="+mj-lt"/>
                <a:cs typeface="Verdana"/>
              </a:rPr>
              <a:t>r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n</a:t>
            </a:r>
            <a:r>
              <a:rPr sz="600" i="1" dirty="0">
                <a:solidFill>
                  <a:srgbClr val="001864"/>
                </a:solidFill>
                <a:latin typeface="+mj-lt"/>
                <a:cs typeface="Verdana"/>
              </a:rPr>
              <a:t>al</a:t>
            </a:r>
            <a:r>
              <a:rPr sz="600" i="1" spc="-2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i="1" spc="-10" dirty="0">
                <a:solidFill>
                  <a:srgbClr val="001864"/>
                </a:solidFill>
                <a:latin typeface="+mj-lt"/>
                <a:cs typeface="Verdana"/>
              </a:rPr>
              <a:t>o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f</a:t>
            </a:r>
            <a:r>
              <a:rPr sz="600" i="1" spc="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i="1" dirty="0">
                <a:solidFill>
                  <a:srgbClr val="001864"/>
                </a:solidFill>
                <a:latin typeface="+mj-lt"/>
                <a:cs typeface="Verdana"/>
              </a:rPr>
              <a:t>m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ed</a:t>
            </a:r>
            <a:r>
              <a:rPr sz="600" i="1" dirty="0">
                <a:solidFill>
                  <a:srgbClr val="001864"/>
                </a:solidFill>
                <a:latin typeface="+mj-lt"/>
                <a:cs typeface="Verdana"/>
              </a:rPr>
              <a:t>ici</a:t>
            </a:r>
            <a:r>
              <a:rPr sz="600" i="1" spc="-5" dirty="0">
                <a:solidFill>
                  <a:srgbClr val="001864"/>
                </a:solidFill>
                <a:latin typeface="+mj-lt"/>
                <a:cs typeface="Verdana"/>
              </a:rPr>
              <a:t>n</a:t>
            </a:r>
            <a:r>
              <a:rPr sz="600" i="1" spc="5" dirty="0">
                <a:solidFill>
                  <a:srgbClr val="001864"/>
                </a:solidFill>
                <a:latin typeface="+mj-lt"/>
                <a:cs typeface="Verdana"/>
              </a:rPr>
              <a:t>e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.</a:t>
            </a:r>
            <a:r>
              <a:rPr sz="600" spc="-2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2016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;</a:t>
            </a:r>
            <a:r>
              <a:rPr sz="600" spc="1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In P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r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ess</a:t>
            </a:r>
            <a:endParaRPr sz="600" dirty="0">
              <a:latin typeface="+mj-lt"/>
              <a:cs typeface="Verdana"/>
            </a:endParaRPr>
          </a:p>
          <a:p>
            <a:pPr marL="12701"/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and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 B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use</a:t>
            </a:r>
            <a:r>
              <a:rPr sz="600" spc="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e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t</a:t>
            </a:r>
            <a:r>
              <a:rPr sz="600" spc="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a</a:t>
            </a:r>
            <a:r>
              <a:rPr sz="600" spc="10" dirty="0">
                <a:solidFill>
                  <a:srgbClr val="001864"/>
                </a:solidFill>
                <a:latin typeface="+mj-lt"/>
                <a:cs typeface="Verdana"/>
              </a:rPr>
              <a:t>l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.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,</a:t>
            </a:r>
            <a:r>
              <a:rPr sz="600" spc="-25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S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ymp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o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s</a:t>
            </a:r>
            <a:r>
              <a:rPr sz="600" spc="10" dirty="0">
                <a:solidFill>
                  <a:srgbClr val="001864"/>
                </a:solidFill>
                <a:latin typeface="+mj-lt"/>
                <a:cs typeface="Verdana"/>
              </a:rPr>
              <a:t>i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um</a:t>
            </a:r>
            <a:r>
              <a:rPr sz="600" spc="-3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3-CT-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S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Y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24,</a:t>
            </a:r>
            <a:r>
              <a:rPr sz="600" spc="1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10" dirty="0">
                <a:solidFill>
                  <a:srgbClr val="001864"/>
                </a:solidFill>
                <a:latin typeface="+mj-lt"/>
                <a:cs typeface="Verdana"/>
              </a:rPr>
              <a:t>A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D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A</a:t>
            </a:r>
            <a:r>
              <a:rPr sz="600" dirty="0">
                <a:solidFill>
                  <a:srgbClr val="001864"/>
                </a:solidFill>
                <a:latin typeface="+mj-lt"/>
                <a:cs typeface="Verdana"/>
              </a:rPr>
              <a:t> </a:t>
            </a:r>
            <a:r>
              <a:rPr sz="600" spc="-5" dirty="0">
                <a:solidFill>
                  <a:srgbClr val="001864"/>
                </a:solidFill>
                <a:latin typeface="+mj-lt"/>
                <a:cs typeface="Verdana"/>
              </a:rPr>
              <a:t>2016</a:t>
            </a:r>
            <a:endParaRPr sz="600" dirty="0">
              <a:latin typeface="+mj-lt"/>
              <a:cs typeface="Verdana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524000" y="970678"/>
            <a:ext cx="36378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1" marR="5080"/>
            <a:r>
              <a:rPr lang="ru-RU" b="1" u="sng" dirty="0">
                <a:solidFill>
                  <a:srgbClr val="001864"/>
                </a:solidFill>
                <a:cs typeface="Verdana"/>
              </a:rPr>
              <a:t>Макрососудистые осложнения</a:t>
            </a:r>
            <a:endParaRPr lang="ru-RU" u="sng" dirty="0">
              <a:cs typeface="Verdana"/>
            </a:endParaRPr>
          </a:p>
        </p:txBody>
      </p:sp>
      <p:sp>
        <p:nvSpPr>
          <p:cNvPr id="73" name="Title 7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002060"/>
                </a:solidFill>
              </a:rPr>
              <a:t>EMPA-REG Outcome </a:t>
            </a:r>
            <a:r>
              <a:rPr lang="ru-RU" b="1" dirty="0">
                <a:solidFill>
                  <a:srgbClr val="002060"/>
                </a:solidFill>
              </a:rPr>
              <a:t>          </a:t>
            </a:r>
            <a:r>
              <a:rPr lang="en-US" b="1" dirty="0">
                <a:solidFill>
                  <a:srgbClr val="002060"/>
                </a:solidFill>
              </a:rPr>
              <a:t>vs 		</a:t>
            </a:r>
            <a:endParaRPr lang="ru-RU" dirty="0"/>
          </a:p>
        </p:txBody>
      </p:sp>
      <p:sp>
        <p:nvSpPr>
          <p:cNvPr id="5" name="Rectangle 4"/>
          <p:cNvSpPr/>
          <p:nvPr/>
        </p:nvSpPr>
        <p:spPr>
          <a:xfrm>
            <a:off x="3795592" y="1269665"/>
            <a:ext cx="476765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200" b="0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ru-RU" sz="1400" dirty="0">
                <a:solidFill>
                  <a:srgbClr val="002060"/>
                </a:solidFill>
              </a:rPr>
              <a:t>Госпитализация по поводу сердечной недостаточности</a:t>
            </a:r>
            <a:endParaRPr lang="en-US" sz="1400" dirty="0">
              <a:solidFill>
                <a:srgbClr val="002060"/>
              </a:solidFill>
            </a:endParaRPr>
          </a:p>
        </p:txBody>
      </p:sp>
      <p:graphicFrame>
        <p:nvGraphicFramePr>
          <p:cNvPr id="83" name="Chart 8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0231898"/>
              </p:ext>
            </p:extLst>
          </p:nvPr>
        </p:nvGraphicFramePr>
        <p:xfrm>
          <a:off x="1524000" y="1588848"/>
          <a:ext cx="4509675" cy="4485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9260-4640-46FA-9BEC-1CA762B2F5B1}" type="slidenum">
              <a:rPr lang="ru-RU" smtClean="0"/>
              <a:t>6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693516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7BF87E-BFE5-43C2-B52A-2B8C0EB5AC0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77850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6" name="think-cell Slide" r:id="rId6" imgW="362" imgH="362" progId="TCLayout.ActiveDocument.1">
                  <p:embed/>
                </p:oleObj>
              </mc:Choice>
              <mc:Fallback>
                <p:oleObj name="think-cell Slide" r:id="rId6" imgW="362" imgH="36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7BF87E-BFE5-43C2-B52A-2B8C0EB5AC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F26F42-E86E-4EDB-8C69-3CDA5476CF2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39" b="1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3985737" y="1409306"/>
            <a:ext cx="417067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39371" algn="ctr"/>
            <a:r>
              <a:rPr lang="ru-RU" sz="1200" u="sng" spc="-5" dirty="0">
                <a:solidFill>
                  <a:srgbClr val="001864"/>
                </a:solidFill>
                <a:latin typeface="+mj-lt"/>
                <a:cs typeface="Verdana"/>
              </a:rPr>
              <a:t>Смертность от всех причин</a:t>
            </a:r>
            <a:endParaRPr sz="1200" dirty="0">
              <a:latin typeface="+mj-lt"/>
              <a:cs typeface="Verdana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2160398" y="1085734"/>
            <a:ext cx="36378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1" marR="5080"/>
            <a:r>
              <a:rPr lang="ru-RU" b="1" u="sng" dirty="0">
                <a:solidFill>
                  <a:srgbClr val="001864"/>
                </a:solidFill>
                <a:cs typeface="Verdana"/>
              </a:rPr>
              <a:t>Макрососудистые осложнения</a:t>
            </a:r>
            <a:endParaRPr lang="ru-RU" u="sng" dirty="0">
              <a:cs typeface="Verdana"/>
            </a:endParaRPr>
          </a:p>
        </p:txBody>
      </p:sp>
      <p:sp>
        <p:nvSpPr>
          <p:cNvPr id="73" name="Title 7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>
                <a:solidFill>
                  <a:srgbClr val="002060"/>
                </a:solidFill>
              </a:rPr>
              <a:t>EMPA-REG Outcome </a:t>
            </a:r>
            <a:r>
              <a:rPr lang="ru-RU" b="1" dirty="0">
                <a:solidFill>
                  <a:srgbClr val="002060"/>
                </a:solidFill>
              </a:rPr>
              <a:t>          </a:t>
            </a:r>
            <a:r>
              <a:rPr lang="en-US" b="1" dirty="0">
                <a:solidFill>
                  <a:srgbClr val="002060"/>
                </a:solidFill>
              </a:rPr>
              <a:t>vs 		</a:t>
            </a:r>
            <a:endParaRPr lang="ru-RU" dirty="0"/>
          </a:p>
        </p:txBody>
      </p:sp>
      <p:graphicFrame>
        <p:nvGraphicFramePr>
          <p:cNvPr id="79" name="Chart 7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4086296"/>
              </p:ext>
            </p:extLst>
          </p:nvPr>
        </p:nvGraphicFramePr>
        <p:xfrm>
          <a:off x="1577166" y="1607485"/>
          <a:ext cx="4442109" cy="4550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7" name="Slide Number Placeholder 3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9260-4640-46FA-9BEC-1CA762B2F5B1}" type="slidenum">
              <a:rPr lang="ru-RU" smtClean="0"/>
              <a:t>6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7957364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7262ABD-26A7-4CE8-B21B-AA6962084E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6283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0" name="think-cell Slide" r:id="rId6" imgW="362" imgH="362" progId="TCLayout.ActiveDocument.1">
                  <p:embed/>
                </p:oleObj>
              </mc:Choice>
              <mc:Fallback>
                <p:oleObj name="think-cell Slide" r:id="rId6" imgW="362" imgH="362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7262ABD-26A7-4CE8-B21B-AA6962084E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BAB5F0B-D07C-4BDB-830F-6DBEDFA77D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539" b="1" dirty="0">
              <a:latin typeface="DINPro-Medium" panose="02000503030000020004" pitchFamily="50" charset="0"/>
              <a:ea typeface="+mj-ea"/>
              <a:cs typeface="+mj-cs"/>
              <a:sym typeface="DINPro-Medium" panose="02000503030000020004" pitchFamily="50" charset="0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9589039" y="1963612"/>
            <a:ext cx="607060" cy="3034030"/>
          </a:xfrm>
          <a:custGeom>
            <a:avLst/>
            <a:gdLst/>
            <a:ahLst/>
            <a:cxnLst/>
            <a:rect l="l" t="t" r="r" b="b"/>
            <a:pathLst>
              <a:path w="607060" h="3034029">
                <a:moveTo>
                  <a:pt x="0" y="3033776"/>
                </a:moveTo>
                <a:lnTo>
                  <a:pt x="606831" y="3033776"/>
                </a:lnTo>
                <a:lnTo>
                  <a:pt x="606831" y="0"/>
                </a:lnTo>
                <a:lnTo>
                  <a:pt x="0" y="0"/>
                </a:lnTo>
                <a:lnTo>
                  <a:pt x="0" y="30337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9158803" y="2946806"/>
            <a:ext cx="699770" cy="3034030"/>
          </a:xfrm>
          <a:custGeom>
            <a:avLst/>
            <a:gdLst/>
            <a:ahLst/>
            <a:cxnLst/>
            <a:rect l="l" t="t" r="r" b="b"/>
            <a:pathLst>
              <a:path w="699770" h="3034029">
                <a:moveTo>
                  <a:pt x="0" y="3033776"/>
                </a:moveTo>
                <a:lnTo>
                  <a:pt x="699198" y="3033776"/>
                </a:lnTo>
                <a:lnTo>
                  <a:pt x="699198" y="0"/>
                </a:lnTo>
                <a:lnTo>
                  <a:pt x="0" y="0"/>
                </a:lnTo>
                <a:lnTo>
                  <a:pt x="0" y="303377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6" name="Title 16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>
                <a:solidFill>
                  <a:srgbClr val="002060"/>
                </a:solidFill>
              </a:rPr>
              <a:t>EMPA-REG Outcome </a:t>
            </a:r>
            <a:r>
              <a:rPr lang="ru-RU" b="1" dirty="0">
                <a:solidFill>
                  <a:srgbClr val="002060"/>
                </a:solidFill>
              </a:rPr>
              <a:t>          </a:t>
            </a:r>
            <a:r>
              <a:rPr lang="en-US" b="1" dirty="0">
                <a:solidFill>
                  <a:srgbClr val="002060"/>
                </a:solidFill>
              </a:rPr>
              <a:t>vs 		</a:t>
            </a:r>
            <a:endParaRPr lang="ru-RU" dirty="0"/>
          </a:p>
        </p:txBody>
      </p:sp>
      <p:graphicFrame>
        <p:nvGraphicFramePr>
          <p:cNvPr id="168" name="Chart 16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96750044"/>
              </p:ext>
            </p:extLst>
          </p:nvPr>
        </p:nvGraphicFramePr>
        <p:xfrm>
          <a:off x="1554480" y="1269026"/>
          <a:ext cx="4572000" cy="46212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0" name="Rectangle 29"/>
          <p:cNvSpPr/>
          <p:nvPr/>
        </p:nvSpPr>
        <p:spPr>
          <a:xfrm>
            <a:off x="3290159" y="1877082"/>
            <a:ext cx="30875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dirty="0">
                <a:solidFill>
                  <a:srgbClr val="002060"/>
                </a:solidFill>
              </a:rPr>
              <a:t>−0.24 % (95% CI, </a:t>
            </a:r>
            <a:r>
              <a:rPr lang="en-US" sz="1200" dirty="0">
                <a:solidFill>
                  <a:srgbClr val="002060"/>
                </a:solidFill>
              </a:rPr>
              <a:t>−0.40 to −0.08) </a:t>
            </a:r>
          </a:p>
          <a:p>
            <a:r>
              <a:rPr lang="en-US" sz="1200" dirty="0">
                <a:solidFill>
                  <a:srgbClr val="002060"/>
                </a:solidFill>
              </a:rPr>
              <a:t>−0.36% </a:t>
            </a:r>
            <a:r>
              <a:rPr lang="pl-PL" sz="1200" dirty="0">
                <a:solidFill>
                  <a:srgbClr val="002060"/>
                </a:solidFill>
              </a:rPr>
              <a:t>(95% CI, −0.51 to −0.20)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70" name="object 75"/>
          <p:cNvSpPr txBox="1"/>
          <p:nvPr/>
        </p:nvSpPr>
        <p:spPr>
          <a:xfrm>
            <a:off x="3863341" y="1146810"/>
            <a:ext cx="427291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37465" algn="ctr"/>
            <a:r>
              <a:rPr lang="ru-RU" u="sng" spc="-5" dirty="0">
                <a:solidFill>
                  <a:srgbClr val="001864"/>
                </a:solidFill>
                <a:cs typeface="Verdana"/>
              </a:rPr>
              <a:t>Динамика показателя </a:t>
            </a:r>
            <a:r>
              <a:rPr u="sng" spc="-5" dirty="0">
                <a:solidFill>
                  <a:srgbClr val="001864"/>
                </a:solidFill>
                <a:cs typeface="Verdana"/>
              </a:rPr>
              <a:t>H</a:t>
            </a:r>
            <a:r>
              <a:rPr u="sng" dirty="0">
                <a:solidFill>
                  <a:srgbClr val="001864"/>
                </a:solidFill>
                <a:cs typeface="Verdana"/>
              </a:rPr>
              <a:t>b</a:t>
            </a:r>
            <a:r>
              <a:rPr u="sng" spc="5" dirty="0">
                <a:solidFill>
                  <a:srgbClr val="001864"/>
                </a:solidFill>
                <a:cs typeface="Verdana"/>
              </a:rPr>
              <a:t>A</a:t>
            </a:r>
            <a:r>
              <a:rPr u="sng" baseline="-20833" dirty="0">
                <a:solidFill>
                  <a:srgbClr val="001864"/>
                </a:solidFill>
                <a:cs typeface="Verdana"/>
              </a:rPr>
              <a:t>1c</a:t>
            </a:r>
            <a:endParaRPr u="sng" baseline="-20833" dirty="0">
              <a:cs typeface="Verdana"/>
            </a:endParaRPr>
          </a:p>
        </p:txBody>
      </p:sp>
      <p:sp>
        <p:nvSpPr>
          <p:cNvPr id="69" name="Slide Number Placeholder 6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679260-4640-46FA-9BEC-1CA762B2F5B1}" type="slidenum">
              <a:rPr lang="ru-RU" smtClean="0"/>
              <a:t>6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18231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5" name="Content Placeholder 4" title="Mentimeter">
                <a:extLst>
                  <a:ext uri="{FF2B5EF4-FFF2-40B4-BE49-F238E27FC236}">
                    <a16:creationId xmlns:a16="http://schemas.microsoft.com/office/drawing/2014/main" id="{C0D01526-8E5C-4448-B539-E460CD7AA796}"/>
                  </a:ext>
                </a:extLst>
              </p:cNvPr>
              <p:cNvGraphicFramePr>
                <a:graphicFrameLocks noGrp="1"/>
              </p:cNvGraphicFramePr>
              <p:nvPr>
                <p:ph idx="4294967295"/>
                <p:extLst>
                  <p:ext uri="{D42A27DB-BD31-4B8C-83A1-F6EECF244321}">
                    <p14:modId xmlns:p14="http://schemas.microsoft.com/office/powerpoint/2010/main" val="3964746424"/>
                  </p:ext>
                </p:extLst>
              </p:nvPr>
            </p:nvGraphicFramePr>
            <p:xfrm>
              <a:off x="1119951" y="0"/>
              <a:ext cx="11072050" cy="6857999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5" name="Content Placeholder 4" title="Mentimeter">
                <a:extLst>
                  <a:ext uri="{FF2B5EF4-FFF2-40B4-BE49-F238E27FC236}">
                    <a16:creationId xmlns:a16="http://schemas.microsoft.com/office/drawing/2014/main" id="{C0D01526-8E5C-4448-B539-E460CD7AA79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19951" y="0"/>
                <a:ext cx="11072050" cy="6857999"/>
              </a:xfrm>
              <a:prstGeom prst="rect">
                <a:avLst/>
              </a:prstGeom>
            </p:spPr>
          </p:pic>
        </mc:Fallback>
      </mc:AlternateContent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144211-9DFD-4581-980F-D1817905DB77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539242" y="6241572"/>
            <a:ext cx="5471158" cy="492125"/>
          </a:xfrm>
        </p:spPr>
        <p:txBody>
          <a:bodyPr/>
          <a:lstStyle/>
          <a:p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29A2D4-7731-4D0A-8CDD-3824484AA6B5}"/>
              </a:ext>
            </a:extLst>
          </p:cNvPr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ru-RU" dirty="0"/>
              <a:t>ОПРОС</a:t>
            </a:r>
          </a:p>
        </p:txBody>
      </p:sp>
    </p:spTree>
    <p:extLst>
      <p:ext uri="{BB962C8B-B14F-4D97-AF65-F5344CB8AC3E}">
        <p14:creationId xmlns:p14="http://schemas.microsoft.com/office/powerpoint/2010/main" val="4447209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809EF73-DE4F-4E21-84E3-189C5DAC37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809EF73-DE4F-4E21-84E3-189C5DAC3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51B57E-E2F7-4D1E-9B74-39341F868A5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 rot="16200000">
            <a:off x="9194657" y="2495091"/>
            <a:ext cx="5471158" cy="492125"/>
          </a:xfrm>
        </p:spPr>
        <p:txBody>
          <a:bodyPr>
            <a:normAutofit fontScale="40000" lnSpcReduction="20000"/>
          </a:bodyPr>
          <a:lstStyle/>
          <a:p>
            <a:br>
              <a:rPr lang="en-US" dirty="0"/>
            </a:br>
            <a:r>
              <a:rPr lang="en-US" b="1" dirty="0"/>
              <a:t>2018 ACC/AHA </a:t>
            </a:r>
            <a:r>
              <a:rPr lang="en-US" b="1" dirty="0" err="1"/>
              <a:t>Multisociety</a:t>
            </a:r>
            <a:r>
              <a:rPr lang="en-US" b="1" dirty="0"/>
              <a:t> Guideline on the Management of Blood Cholesterol </a:t>
            </a:r>
            <a:r>
              <a:rPr lang="en-GB" dirty="0"/>
              <a:t>https://www.acc.org/latest-in-cardiology/ten-points-to-remember/2018/11/09/14/28/2018-guideline-on-management-of-blood-cholesterol</a:t>
            </a:r>
            <a:endParaRPr lang="ru-RU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ABE4508-A50D-4C4F-818A-9312F60A1980}"/>
              </a:ext>
            </a:extLst>
          </p:cNvPr>
          <p:cNvSpPr>
            <a:spLocks noGrp="1"/>
          </p:cNvSpPr>
          <p:nvPr>
            <p:ph idx="14"/>
          </p:nvPr>
        </p:nvSpPr>
        <p:spPr>
          <a:xfrm rot="16200000">
            <a:off x="-2405545" y="2628415"/>
            <a:ext cx="6153909" cy="897082"/>
          </a:xfrm>
        </p:spPr>
        <p:txBody>
          <a:bodyPr>
            <a:normAutofit fontScale="85000" lnSpcReduction="10000"/>
          </a:bodyPr>
          <a:lstStyle/>
          <a:p>
            <a:r>
              <a:rPr lang="ru-RU" dirty="0"/>
              <a:t>ACC_AHA новые рекомендации по лечению гиперхолестеринемии 2018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DC56E36-8EAC-406D-AC86-406AF60B68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3750" y="619125"/>
            <a:ext cx="5524500" cy="5619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9925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809EF73-DE4F-4E21-84E3-189C5DAC376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62" imgH="362" progId="TCLayout.ActiveDocument.1">
                  <p:embed/>
                </p:oleObj>
              </mc:Choice>
              <mc:Fallback>
                <p:oleObj name="think-cell Slide" r:id="rId4" imgW="362" imgH="362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809EF73-DE4F-4E21-84E3-189C5DAC3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951B57E-E2F7-4D1E-9B74-39341F868A5B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 rot="16200000">
            <a:off x="9194657" y="2495091"/>
            <a:ext cx="5471158" cy="492125"/>
          </a:xfrm>
        </p:spPr>
        <p:txBody>
          <a:bodyPr>
            <a:normAutofit fontScale="40000" lnSpcReduction="20000"/>
          </a:bodyPr>
          <a:lstStyle/>
          <a:p>
            <a:br>
              <a:rPr lang="en-US" dirty="0"/>
            </a:br>
            <a:r>
              <a:rPr lang="en-US" b="1" dirty="0"/>
              <a:t>2018 ACC/AHA </a:t>
            </a:r>
            <a:r>
              <a:rPr lang="en-US" b="1" dirty="0" err="1"/>
              <a:t>Multisociety</a:t>
            </a:r>
            <a:r>
              <a:rPr lang="en-US" b="1" dirty="0"/>
              <a:t> Guideline on the Management of Blood Cholesterol </a:t>
            </a:r>
            <a:r>
              <a:rPr lang="en-GB" dirty="0"/>
              <a:t>https://www.acc.org/latest-in-cardiology/ten-points-to-remember/2018/11/09/14/28/2018-guideline-on-management-of-blood-cholesterol</a:t>
            </a:r>
            <a:endParaRPr lang="ru-RU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AABE4508-A50D-4C4F-818A-9312F60A1980}"/>
              </a:ext>
            </a:extLst>
          </p:cNvPr>
          <p:cNvSpPr>
            <a:spLocks noGrp="1"/>
          </p:cNvSpPr>
          <p:nvPr>
            <p:ph idx="14"/>
          </p:nvPr>
        </p:nvSpPr>
        <p:spPr>
          <a:xfrm rot="16200000">
            <a:off x="-2405545" y="2628415"/>
            <a:ext cx="6153909" cy="897082"/>
          </a:xfrm>
        </p:spPr>
        <p:txBody>
          <a:bodyPr>
            <a:normAutofit fontScale="85000" lnSpcReduction="10000"/>
          </a:bodyPr>
          <a:lstStyle/>
          <a:p>
            <a:r>
              <a:rPr lang="ru-RU" dirty="0"/>
              <a:t>ACC_AHA новые рекомендации по лечению гиперхолестеринемии 2018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45FFC81-0AFB-436B-B7C2-BC7BE209D2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09737" y="300037"/>
            <a:ext cx="8772525" cy="625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336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4162&quot;&gt;&lt;version val=&quot;2705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C0&quot; g=&quot;00&quot; b=&quot;0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gZZqn2SuOiWLoTbzAmH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V3WWcyRMKddc4GSS9bQ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sPKxnbRFSoe5tcdFSzS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ZNgQ0OS.y0PcmlohJm1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R5QqOYQZeQ2x4st5pHi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h1Cb8R0Ck7.bYYBAbc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.p0I.1RZ.KIPEZQ.w4M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Y8rW5cTa2.pzzDgV092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q9Cz2nTEu7wYqDog8U8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2_rtWSR1iyU.pTyj_eA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CuQYAlTMi6j7qHknO9Q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0huXJSSnWePsw66Vzre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ACCxm9THK.DEBV4LphC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NieTtASSOyz3cpje2yQ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YuPe2TOiJQ.pIml5x9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YavvkPQBaQiqlm5p2kp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zb9GlsS0WonLfakPAAo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IdScjJSluf2xOByGE2G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3kgp0SR5mmkO6YF5.J3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YCawkDQg..iJnlTHy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pRbB0yR0qZgMand6GX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oaER3iQB6SJC9ldXRzP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35tY_URG2wa8ksV3oCT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8Icw7MTB.w15UPcTw6k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izJ5BqTQiTllWZbGRv9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j5qEElQx2Hl6HgnX1Da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DhrK9Q0SiZ_3xWv4xO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OASv_jQmCIS6VJLgZEJ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_9Q0cjxSoGDlDlow1itH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K1ZZ0CSOWEHK6kUekyc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znHurDQyaK9zPXbiBq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.j6v67RuaQ2BDIuzLL5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QPpNFa0QtGSToeFGuF7D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_ZeaWqQyWzXmBye5LwY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4zxpb1TOiVa9Eon9dI6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Gxz.83QuyNts8Y9Ui8e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AO6MePTQmUJwkAwvwnQ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wFhxBvTYyJHk9iGfv1k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_ZeaWqQyWzXmBye5LwY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bMbOXhT.qwHX7pf78LX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IuZKxnTpSTVUc3b1qB4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ekA9dgSL.KX.HwKP_zW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B1jEqYTn.YIHRKIlCs2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dfv.wUROaD1Z0qZxagg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mdxHWRTYaewTCCqVF5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uGqKdTT9O_gRSpOCiHD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fardQITJu6shWJJ9Rk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gZZqn2SuOiWLoTbzAm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TdmXFHTe.7Nsqbj5vI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Tx4kMtQFuu3cvlZ4wX7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0Q2BzCSi2YSgGYW6CI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_0zevbQoy9b82uLXzGS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0Q2BzCSi2YSgGYW6CI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17WebAScKZHQVG5.gZl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KzhIhdQfOP0UmeYcRs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Hhi.x3QJmwFbuwYUd31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0Q2BzCSi2YSgGYW6CI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0Q2BzCSi2YSgGYW6CI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0Q2BzCSi2YSgGYW6CI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0Q2BzCSi2YSgGYW6CI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MaNbR.ThGhHwTBJuQKs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76uM6uT1SJNwEuLnl6x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duXHktTaO5_KhvUIkgg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Sqo2HdQFKH73DqP3cB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vuPVW_QRG0pZdGVPCka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syqp0vQSOm2j..Bu5A5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wcNtUHQ_2XaK5h6R41g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tBAZz6Tiureb.L.A7wT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iSAdQeQzaMbJNWy_WO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xZ1ehR8ueRzdzdWSR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sjmdU1R2aIn_ag6eBb1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JdPkC5TTKi9MxVnhdY6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HFKmHOTtG.ixGGn4qE_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ya_Z10SQ.mKhhM7JtQ1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.yw4QTRaW3XJrM1PqVL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iMxE7.Ss.TaE3tSNaw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_ZeaWqQyWzXmBye5LwY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6Wpn_qTH2oVV.96KlxG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t27bTRLyCOb0YfYhOw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oG3DwcQ3WTrb_7kUSx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ssJYuKSmiRKjPLT6VCa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w..t2oTkGc4dFwY0_PM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rhapZPR9Gdqni0QFc.1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A9HzpGRFSiJ99JMS27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BETM.QTI26._1TnUJnP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dKh5SySXyYbTKSpfY3B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FpD2xUQhSZ59.f9jMS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dfv.wUROaD1Z0qZxagg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.emYiCTKitHoLK.xJJJ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_ZeaWqQyWzXmBye5LwY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kRCfYTSR2YCfzK8DdLo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coUg2RR7O7C2eGGkVck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AO6MePTQmUJwkAwvwnQ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RKlA7QkOJNWgmsLia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2BhypcRQKVMOO24dvy.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Tx4kMtQFuu3cvlZ4wX7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_0zevbQoy9b82uLXzGS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0Q2BzCSi2YSgGYW6CIA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fardQITJu6shWJJ9Rks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xWzns_Rce2BYE5TzP.q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YQF5TsQHSwZIfqq0kZy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lLQvuXREKp_pGzBU_DaA"/>
</p:tagLst>
</file>

<file path=ppt/theme/theme1.xml><?xml version="1.0" encoding="utf-8"?>
<a:theme xmlns:a="http://schemas.openxmlformats.org/drawingml/2006/main" name="MA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5">
      <a:majorFont>
        <a:latin typeface="DINPro-Medium"/>
        <a:ea typeface=""/>
        <a:cs typeface=""/>
      </a:majorFont>
      <a:minorFont>
        <a:latin typeface="DINPro-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G_presentation template" id="{7EBBAEA5-C5BD-4845-8BA8-BD663E138B8E}" vid="{98F515D7-1E6F-47DE-8014-1A7A46C2049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Custom 3">
    <a:majorFont>
      <a:latin typeface="DINPro-Medium"/>
      <a:ea typeface=""/>
      <a:cs typeface=""/>
    </a:majorFont>
    <a:minorFont>
      <a:latin typeface="DINPro-Medium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Custom 3">
    <a:majorFont>
      <a:latin typeface="DINPro-Medium"/>
      <a:ea typeface=""/>
      <a:cs typeface=""/>
    </a:majorFont>
    <a:minorFont>
      <a:latin typeface="DINPro-Medium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Custom 3">
    <a:majorFont>
      <a:latin typeface="DINPro-Medium"/>
      <a:ea typeface=""/>
      <a:cs typeface=""/>
    </a:majorFont>
    <a:minorFont>
      <a:latin typeface="DINPro-Medium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Custom 3">
    <a:majorFont>
      <a:latin typeface="DINPro-Medium"/>
      <a:ea typeface=""/>
      <a:cs typeface=""/>
    </a:majorFont>
    <a:minorFont>
      <a:latin typeface="DINPro-Medium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webextensions/_rels/webextension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png"/></Relationships>
</file>

<file path=ppt/webextensions/_rels/webextension2.x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webextensions/_rels/webextension3.xml.rels><?xml version="1.0" encoding="UTF-8" standalone="yes"?>
<Relationships xmlns="http://schemas.openxmlformats.org/package/2006/relationships"><Relationship Id="rId1" Type="http://schemas.openxmlformats.org/officeDocument/2006/relationships/image" Target="../media/image31.png"/></Relationships>
</file>

<file path=ppt/webextensions/_rels/webextension4.xml.rels><?xml version="1.0" encoding="UTF-8" standalone="yes"?>
<Relationships xmlns="http://schemas.openxmlformats.org/package/2006/relationships"><Relationship Id="rId1" Type="http://schemas.openxmlformats.org/officeDocument/2006/relationships/image" Target="../media/image32.png"/></Relationships>
</file>

<file path=ppt/webextensions/_rels/webextension5.xml.rels><?xml version="1.0" encoding="UTF-8" standalone="yes"?>
<Relationships xmlns="http://schemas.openxmlformats.org/package/2006/relationships"><Relationship Id="rId1" Type="http://schemas.openxmlformats.org/officeDocument/2006/relationships/image" Target="../media/image34.png"/></Relationships>
</file>

<file path=ppt/webextensions/_rels/webextension6.xml.rels><?xml version="1.0" encoding="UTF-8" standalone="yes"?>
<Relationships xmlns="http://schemas.openxmlformats.org/package/2006/relationships"><Relationship Id="rId1" Type="http://schemas.openxmlformats.org/officeDocument/2006/relationships/image" Target="../media/image43.png"/></Relationships>
</file>

<file path=ppt/webextensions/_rels/webextension7.xml.rels><?xml version="1.0" encoding="UTF-8" standalone="yes"?>
<Relationships xmlns="http://schemas.openxmlformats.org/package/2006/relationships"><Relationship Id="rId1" Type="http://schemas.openxmlformats.org/officeDocument/2006/relationships/image" Target="../media/image44.png"/></Relationships>
</file>

<file path=ppt/webextensions/_rels/webextension8.xml.rels><?xml version="1.0" encoding="UTF-8" standalone="yes"?>
<Relationships xmlns="http://schemas.openxmlformats.org/package/2006/relationships"><Relationship Id="rId1" Type="http://schemas.openxmlformats.org/officeDocument/2006/relationships/image" Target="../media/image51.png"/></Relationships>
</file>

<file path=ppt/webextensions/_rels/webextension9.xml.rels><?xml version="1.0" encoding="UTF-8" standalone="yes"?>
<Relationships xmlns="http://schemas.openxmlformats.org/package/2006/relationships"><Relationship Id="rId1" Type="http://schemas.openxmlformats.org/officeDocument/2006/relationships/image" Target="../media/image52.png"/></Relationships>
</file>

<file path=ppt/webextensions/webextension1.xml><?xml version="1.0" encoding="utf-8"?>
<we:webextension xmlns:we="http://schemas.microsoft.com/office/webextensions/webextension/2010/11" id="{EB172E85-B5CB-417F-B394-69F7A4D54471}">
  <we:reference id="wa104379261" version="2.0.0.1" store="en-US" storeType="OMEX"/>
  <we:alternateReferences>
    <we:reference id="wa104379261" version="2.0.0.1" store="wa104379261" storeType="OMEX"/>
  </we:alternateReferences>
  <we:properties>
    <we:property name="mentimeter_ppt_question_id" value="&quot;6c3bad2c659b&quot;"/>
  </we:properties>
  <we:bindings/>
  <we:snapshot xmlns:r="http://schemas.openxmlformats.org/officeDocument/2006/relationships" r:embed="rId1"/>
</we:webextension>
</file>

<file path=ppt/webextensions/webextension2.xml><?xml version="1.0" encoding="utf-8"?>
<we:webextension xmlns:we="http://schemas.microsoft.com/office/webextensions/webextension/2010/11" id="{0877A056-69D0-461C-9617-2B3719333B2A}">
  <we:reference id="wa104379261" version="2.0.0.1" store="en-US" storeType="OMEX"/>
  <we:alternateReferences>
    <we:reference id="wa104379261" version="2.0.0.1" store="wa104379261" storeType="OMEX"/>
  </we:alternateReferences>
  <we:properties>
    <we:property name="mentimeter_ppt_question_id" value="&quot;0c805640d0ef&quot;"/>
  </we:properties>
  <we:bindings/>
  <we:snapshot xmlns:r="http://schemas.openxmlformats.org/officeDocument/2006/relationships" r:embed="rId1"/>
</we:webextension>
</file>

<file path=ppt/webextensions/webextension3.xml><?xml version="1.0" encoding="utf-8"?>
<we:webextension xmlns:we="http://schemas.microsoft.com/office/webextensions/webextension/2010/11" id="{24726578-A9E6-4F61-8CD7-8194AB4F23C8}">
  <we:reference id="wa104379261" version="2.0.0.1" store="en-US" storeType="OMEX"/>
  <we:alternateReferences>
    <we:reference id="wa104379261" version="2.0.0.1" store="wa104379261" storeType="OMEX"/>
  </we:alternateReferences>
  <we:properties>
    <we:property name="mentimeter_ppt_question_id" value="&quot;3a4fd031cb7f&quot;"/>
  </we:properties>
  <we:bindings/>
  <we:snapshot xmlns:r="http://schemas.openxmlformats.org/officeDocument/2006/relationships" r:embed="rId1"/>
</we:webextension>
</file>

<file path=ppt/webextensions/webextension4.xml><?xml version="1.0" encoding="utf-8"?>
<we:webextension xmlns:we="http://schemas.microsoft.com/office/webextensions/webextension/2010/11" id="{0667BEA6-8A76-4945-8AB1-95AD2C9D85A5}">
  <we:reference id="wa104379261" version="2.0.0.1" store="en-US" storeType="OMEX"/>
  <we:alternateReferences>
    <we:reference id="wa104379261" version="2.0.0.1" store="wa104379261" storeType="OMEX"/>
  </we:alternateReferences>
  <we:properties>
    <we:property name="mentimeter_ppt_question_id" value="&quot;92b53f29ae58&quot;"/>
  </we:properties>
  <we:bindings/>
  <we:snapshot xmlns:r="http://schemas.openxmlformats.org/officeDocument/2006/relationships" r:embed="rId1"/>
</we:webextension>
</file>

<file path=ppt/webextensions/webextension5.xml><?xml version="1.0" encoding="utf-8"?>
<we:webextension xmlns:we="http://schemas.microsoft.com/office/webextensions/webextension/2010/11" id="{2D03EF82-5879-4C4B-A176-415C2B6FEA19}">
  <we:reference id="wa104379261" version="2.0.0.1" store="en-US" storeType="OMEX"/>
  <we:alternateReferences>
    <we:reference id="wa104379261" version="2.0.0.1" store="wa104379261" storeType="OMEX"/>
  </we:alternateReferences>
  <we:properties>
    <we:property name="mentimeter_ppt_question_id" value="&quot;f988d82ac3c1&quot;"/>
  </we:properties>
  <we:bindings/>
  <we:snapshot xmlns:r="http://schemas.openxmlformats.org/officeDocument/2006/relationships" r:embed="rId1"/>
</we:webextension>
</file>

<file path=ppt/webextensions/webextension6.xml><?xml version="1.0" encoding="utf-8"?>
<we:webextension xmlns:we="http://schemas.microsoft.com/office/webextensions/webextension/2010/11" id="{4B65A6F1-AA4E-448B-890A-48E26CEB8CEE}">
  <we:reference id="wa104379261" version="2.0.0.1" store="en-US" storeType="OMEX"/>
  <we:alternateReferences>
    <we:reference id="wa104379261" version="2.0.0.1" store="wa104379261" storeType="OMEX"/>
  </we:alternateReferences>
  <we:properties>
    <we:property name="mentimeter_ppt_question_id" value="&quot;a64481600469&quot;"/>
  </we:properties>
  <we:bindings/>
  <we:snapshot xmlns:r="http://schemas.openxmlformats.org/officeDocument/2006/relationships" r:embed="rId1"/>
</we:webextension>
</file>

<file path=ppt/webextensions/webextension7.xml><?xml version="1.0" encoding="utf-8"?>
<we:webextension xmlns:we="http://schemas.microsoft.com/office/webextensions/webextension/2010/11" id="{6A302D47-B50B-4A8C-A69E-39515B2101E3}">
  <we:reference id="wa104379261" version="2.0.0.1" store="en-US" storeType="OMEX"/>
  <we:alternateReferences>
    <we:reference id="wa104379261" version="2.0.0.1" store="wa104379261" storeType="OMEX"/>
  </we:alternateReferences>
  <we:properties>
    <we:property name="mentimeter_ppt_question_id" value="&quot;7cf26be05265&quot;"/>
  </we:properties>
  <we:bindings/>
  <we:snapshot xmlns:r="http://schemas.openxmlformats.org/officeDocument/2006/relationships" r:embed="rId1"/>
</we:webextension>
</file>

<file path=ppt/webextensions/webextension8.xml><?xml version="1.0" encoding="utf-8"?>
<we:webextension xmlns:we="http://schemas.microsoft.com/office/webextensions/webextension/2010/11" id="{53A16ECE-809C-4EBE-8278-D3797A8333B2}">
  <we:reference id="wa104379261" version="2.0.0.1" store="en-US" storeType="OMEX"/>
  <we:alternateReferences>
    <we:reference id="wa104379261" version="2.0.0.1" store="wa104379261" storeType="OMEX"/>
  </we:alternateReferences>
  <we:properties>
    <we:property name="mentimeter_ppt_question_id" value="&quot;e47dbe256aa9&quot;"/>
  </we:properties>
  <we:bindings/>
  <we:snapshot xmlns:r="http://schemas.openxmlformats.org/officeDocument/2006/relationships" r:embed="rId1"/>
</we:webextension>
</file>

<file path=ppt/webextensions/webextension9.xml><?xml version="1.0" encoding="utf-8"?>
<we:webextension xmlns:we="http://schemas.microsoft.com/office/webextensions/webextension/2010/11" id="{8F2188DC-C9A3-42C0-81E5-963180E20510}">
  <we:reference id="wa104379261" version="2.0.0.1" store="en-US" storeType="OMEX"/>
  <we:alternateReferences>
    <we:reference id="wa104379261" version="2.0.0.1" store="wa104379261" storeType="OMEX"/>
  </we:alternateReferences>
  <we:properties>
    <we:property name="mentimeter_ppt_question_id" value="&quot;e6314323d98e&quot;"/>
  </we:properties>
  <we:bindings/>
  <we:snapshot xmlns:r="http://schemas.openxmlformats.org/officeDocument/2006/relationships" r:embed="rId1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MAG_presentation template</Template>
  <TotalTime>1910</TotalTime>
  <Words>3663</Words>
  <Application>Microsoft Office PowerPoint</Application>
  <PresentationFormat>Widescreen</PresentationFormat>
  <Paragraphs>543</Paragraphs>
  <Slides>63</Slides>
  <Notes>12</Notes>
  <HiddenSlides>1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3</vt:i4>
      </vt:variant>
    </vt:vector>
  </HeadingPairs>
  <TitlesOfParts>
    <vt:vector size="73" baseType="lpstr">
      <vt:lpstr>Arial</vt:lpstr>
      <vt:lpstr>Calibri</vt:lpstr>
      <vt:lpstr>Candara</vt:lpstr>
      <vt:lpstr>DINPro-Medium</vt:lpstr>
      <vt:lpstr>Microsoft Sans Serif</vt:lpstr>
      <vt:lpstr>Times New Roman</vt:lpstr>
      <vt:lpstr>Verdana</vt:lpstr>
      <vt:lpstr>Wingdings</vt:lpstr>
      <vt:lpstr>MAG</vt:lpstr>
      <vt:lpstr>think-cell Slide</vt:lpstr>
      <vt:lpstr>ФУТУРОscope: AHA 2018</vt:lpstr>
      <vt:lpstr>PowerPoint Presentation</vt:lpstr>
      <vt:lpstr>Заявление о конфликте интересов</vt:lpstr>
      <vt:lpstr>www.mdwrt.com</vt:lpstr>
      <vt:lpstr>Заявление об отказе об ответственности</vt:lpstr>
      <vt:lpstr>Содержание</vt:lpstr>
      <vt:lpstr>PowerPoint Presentation</vt:lpstr>
      <vt:lpstr>PowerPoint Presentation</vt:lpstr>
      <vt:lpstr>PowerPoint Presentation</vt:lpstr>
      <vt:lpstr>PowerPoint Presentation</vt:lpstr>
      <vt:lpstr>Содержание</vt:lpstr>
      <vt:lpstr>DECLARE–TIMI 58</vt:lpstr>
      <vt:lpstr>DECLARE–TIMI 58:</vt:lpstr>
      <vt:lpstr>DECLARE–TIMI 58: Популяция пациентов </vt:lpstr>
      <vt:lpstr>DECLARE–TIMI 58: конечные точки</vt:lpstr>
      <vt:lpstr>DECLARE–TIMI 58: 2 первичные конечные точки</vt:lpstr>
      <vt:lpstr>CANVAS                                            vs                 DECLARE–TIMI 58  </vt:lpstr>
      <vt:lpstr>EMPA-REG Outcome           vs                       DECLARE–TIMI 58   </vt:lpstr>
      <vt:lpstr>DECLARE–TIMI 58: Вторичные конечные точки</vt:lpstr>
      <vt:lpstr>DECLARE–TIMI 58: Вторичные конечные точки</vt:lpstr>
      <vt:lpstr>DECLARE–TIMI 58: Вторичные конечные точки</vt:lpstr>
      <vt:lpstr>DECLARE–TIMI 58: Вторичные конечные точки</vt:lpstr>
      <vt:lpstr>DECLARE–TIMI 58: показатели безопасности</vt:lpstr>
      <vt:lpstr>DECLARE–TIMI 58 vs EMPAREG</vt:lpstr>
      <vt:lpstr>EMPA-REG Outcome           vs   LEADER</vt:lpstr>
      <vt:lpstr>PowerPoint Presentation</vt:lpstr>
      <vt:lpstr>PowerPoint Presentation</vt:lpstr>
      <vt:lpstr>PowerPoint Presentation</vt:lpstr>
      <vt:lpstr>Содержание</vt:lpstr>
      <vt:lpstr>REDUCE-IT</vt:lpstr>
      <vt:lpstr>PowerPoint Presentation</vt:lpstr>
      <vt:lpstr>REDUCE-IT: дизайн исследования</vt:lpstr>
      <vt:lpstr>REDUCE-IT: конечные точки</vt:lpstr>
      <vt:lpstr>REDUCE-IT: Популяция пациентов </vt:lpstr>
      <vt:lpstr>REDUCE-IT</vt:lpstr>
      <vt:lpstr>REDUCE-IT</vt:lpstr>
      <vt:lpstr>REDUCE-IT</vt:lpstr>
      <vt:lpstr>PowerPoint Presentation</vt:lpstr>
      <vt:lpstr>REDUCE-IT: результаты в зависимости от достигнутого уровня ТГ</vt:lpstr>
      <vt:lpstr>REDUCE-IT</vt:lpstr>
      <vt:lpstr>REDUCE-IT</vt:lpstr>
      <vt:lpstr>REDUCE-IT</vt:lpstr>
      <vt:lpstr>REDUCE-IT: липиды, липопротеины и воспалительные маркеры за время исследования</vt:lpstr>
      <vt:lpstr>REDUCE-IT:</vt:lpstr>
      <vt:lpstr>REDUCE-IT:</vt:lpstr>
      <vt:lpstr>PowerPoint Presentation</vt:lpstr>
      <vt:lpstr>Пациенты с ССЗ высокого риска</vt:lpstr>
      <vt:lpstr>PowerPoint Presentation</vt:lpstr>
      <vt:lpstr>Содержание</vt:lpstr>
      <vt:lpstr>PowerPoint Presentation</vt:lpstr>
      <vt:lpstr>VITAL</vt:lpstr>
      <vt:lpstr>VITAL</vt:lpstr>
      <vt:lpstr>VITAL</vt:lpstr>
      <vt:lpstr>VITAL</vt:lpstr>
      <vt:lpstr>VITAL</vt:lpstr>
      <vt:lpstr>VITAL</vt:lpstr>
      <vt:lpstr>PowerPoint Presentation</vt:lpstr>
      <vt:lpstr>PowerPoint Presentation</vt:lpstr>
      <vt:lpstr>EMPA-REG Outcome vs  </vt:lpstr>
      <vt:lpstr>EMPA-REG Outcome           vs   </vt:lpstr>
      <vt:lpstr>EMPA-REG Outcome           vs   </vt:lpstr>
      <vt:lpstr>EMPA-REG Outcome           vs   </vt:lpstr>
      <vt:lpstr>EMPA-REG Outcome           vs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ФУТУРОscope: AHA 2018</dc:title>
  <dc:creator>Yakov Pakhomov</dc:creator>
  <cp:lastModifiedBy>Yakov Pakhomov</cp:lastModifiedBy>
  <cp:revision>1</cp:revision>
  <dcterms:created xsi:type="dcterms:W3CDTF">2018-11-13T16:13:26Z</dcterms:created>
  <dcterms:modified xsi:type="dcterms:W3CDTF">2018-11-16T08:44:58Z</dcterms:modified>
</cp:coreProperties>
</file>